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theme/themeOverride1.xml" ContentType="application/vnd.openxmlformats-officedocument.themeOverride+xml"/>
  <Override PartName="/ppt/tags/tag24.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4029" r:id="rId4"/>
    <p:sldMasterId id="2147484070" r:id="rId5"/>
  </p:sldMasterIdLst>
  <p:notesMasterIdLst>
    <p:notesMasterId r:id="rId34"/>
  </p:notesMasterIdLst>
  <p:handoutMasterIdLst>
    <p:handoutMasterId r:id="rId35"/>
  </p:handoutMasterIdLst>
  <p:sldIdLst>
    <p:sldId id="393" r:id="rId6"/>
    <p:sldId id="543" r:id="rId7"/>
    <p:sldId id="526" r:id="rId8"/>
    <p:sldId id="534" r:id="rId9"/>
    <p:sldId id="545" r:id="rId10"/>
    <p:sldId id="546" r:id="rId11"/>
    <p:sldId id="547" r:id="rId12"/>
    <p:sldId id="548" r:id="rId13"/>
    <p:sldId id="565" r:id="rId14"/>
    <p:sldId id="566" r:id="rId15"/>
    <p:sldId id="567" r:id="rId16"/>
    <p:sldId id="549" r:id="rId17"/>
    <p:sldId id="550" r:id="rId18"/>
    <p:sldId id="564" r:id="rId19"/>
    <p:sldId id="551" r:id="rId20"/>
    <p:sldId id="552" r:id="rId21"/>
    <p:sldId id="553" r:id="rId22"/>
    <p:sldId id="554" r:id="rId23"/>
    <p:sldId id="555" r:id="rId24"/>
    <p:sldId id="556" r:id="rId25"/>
    <p:sldId id="559" r:id="rId26"/>
    <p:sldId id="560" r:id="rId27"/>
    <p:sldId id="561" r:id="rId28"/>
    <p:sldId id="563" r:id="rId29"/>
    <p:sldId id="562" r:id="rId30"/>
    <p:sldId id="569" r:id="rId31"/>
    <p:sldId id="568" r:id="rId32"/>
    <p:sldId id="329" r:id="rId33"/>
  </p:sldIdLst>
  <p:sldSz cx="12188825" cy="6858000"/>
  <p:notesSz cx="6797675" cy="9874250"/>
  <p:custDataLst>
    <p:tags r:id="rId36"/>
  </p:custDataLst>
  <p:defaultTextStyle>
    <a:defPPr>
      <a:defRPr lang="de-DE"/>
    </a:defPPr>
    <a:lvl1pPr marL="0" algn="l" defTabSz="1088076" rtl="0" eaLnBrk="1" latinLnBrk="0" hangingPunct="1">
      <a:defRPr sz="2100" kern="1200">
        <a:solidFill>
          <a:schemeClr val="tx1"/>
        </a:solidFill>
        <a:latin typeface="+mn-lt"/>
        <a:ea typeface="+mn-ea"/>
        <a:cs typeface="+mn-cs"/>
      </a:defRPr>
    </a:lvl1pPr>
    <a:lvl2pPr marL="544038" algn="l" defTabSz="1088076" rtl="0" eaLnBrk="1" latinLnBrk="0" hangingPunct="1">
      <a:defRPr sz="2100" kern="1200">
        <a:solidFill>
          <a:schemeClr val="tx1"/>
        </a:solidFill>
        <a:latin typeface="+mn-lt"/>
        <a:ea typeface="+mn-ea"/>
        <a:cs typeface="+mn-cs"/>
      </a:defRPr>
    </a:lvl2pPr>
    <a:lvl3pPr marL="1088076" algn="l" defTabSz="1088076" rtl="0" eaLnBrk="1" latinLnBrk="0" hangingPunct="1">
      <a:defRPr sz="2100" kern="1200">
        <a:solidFill>
          <a:schemeClr val="tx1"/>
        </a:solidFill>
        <a:latin typeface="+mn-lt"/>
        <a:ea typeface="+mn-ea"/>
        <a:cs typeface="+mn-cs"/>
      </a:defRPr>
    </a:lvl3pPr>
    <a:lvl4pPr marL="1632113" algn="l" defTabSz="1088076" rtl="0" eaLnBrk="1" latinLnBrk="0" hangingPunct="1">
      <a:defRPr sz="2100" kern="1200">
        <a:solidFill>
          <a:schemeClr val="tx1"/>
        </a:solidFill>
        <a:latin typeface="+mn-lt"/>
        <a:ea typeface="+mn-ea"/>
        <a:cs typeface="+mn-cs"/>
      </a:defRPr>
    </a:lvl4pPr>
    <a:lvl5pPr marL="2176150" algn="l" defTabSz="1088076" rtl="0" eaLnBrk="1" latinLnBrk="0" hangingPunct="1">
      <a:defRPr sz="2100" kern="1200">
        <a:solidFill>
          <a:schemeClr val="tx1"/>
        </a:solidFill>
        <a:latin typeface="+mn-lt"/>
        <a:ea typeface="+mn-ea"/>
        <a:cs typeface="+mn-cs"/>
      </a:defRPr>
    </a:lvl5pPr>
    <a:lvl6pPr marL="2720187" algn="l" defTabSz="1088076" rtl="0" eaLnBrk="1" latinLnBrk="0" hangingPunct="1">
      <a:defRPr sz="2100" kern="1200">
        <a:solidFill>
          <a:schemeClr val="tx1"/>
        </a:solidFill>
        <a:latin typeface="+mn-lt"/>
        <a:ea typeface="+mn-ea"/>
        <a:cs typeface="+mn-cs"/>
      </a:defRPr>
    </a:lvl6pPr>
    <a:lvl7pPr marL="3264223" algn="l" defTabSz="1088076" rtl="0" eaLnBrk="1" latinLnBrk="0" hangingPunct="1">
      <a:defRPr sz="2100" kern="1200">
        <a:solidFill>
          <a:schemeClr val="tx1"/>
        </a:solidFill>
        <a:latin typeface="+mn-lt"/>
        <a:ea typeface="+mn-ea"/>
        <a:cs typeface="+mn-cs"/>
      </a:defRPr>
    </a:lvl7pPr>
    <a:lvl8pPr marL="3808261" algn="l" defTabSz="1088076" rtl="0" eaLnBrk="1" latinLnBrk="0" hangingPunct="1">
      <a:defRPr sz="2100" kern="1200">
        <a:solidFill>
          <a:schemeClr val="tx1"/>
        </a:solidFill>
        <a:latin typeface="+mn-lt"/>
        <a:ea typeface="+mn-ea"/>
        <a:cs typeface="+mn-cs"/>
      </a:defRPr>
    </a:lvl8pPr>
    <a:lvl9pPr marL="4352300" algn="l" defTabSz="10880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48">
          <p15:clr>
            <a:srgbClr val="A4A3A4"/>
          </p15:clr>
        </p15:guide>
        <p15:guide id="2" orient="horz" pos="943">
          <p15:clr>
            <a:srgbClr val="A4A3A4"/>
          </p15:clr>
        </p15:guide>
        <p15:guide id="3" orient="horz" pos="1063">
          <p15:clr>
            <a:srgbClr val="A4A3A4"/>
          </p15:clr>
        </p15:guide>
        <p15:guide id="4" orient="horz" pos="3483">
          <p15:clr>
            <a:srgbClr val="A4A3A4"/>
          </p15:clr>
        </p15:guide>
        <p15:guide id="5" orient="horz" pos="2375">
          <p15:clr>
            <a:srgbClr val="A4A3A4"/>
          </p15:clr>
        </p15:guide>
        <p15:guide id="6" orient="horz" pos="1231">
          <p15:clr>
            <a:srgbClr val="A4A3A4"/>
          </p15:clr>
        </p15:guide>
        <p15:guide id="7" pos="3839">
          <p15:clr>
            <a:srgbClr val="A4A3A4"/>
          </p15:clr>
        </p15:guide>
        <p15:guide id="8" pos="7414">
          <p15:clr>
            <a:srgbClr val="A4A3A4"/>
          </p15:clr>
        </p15:guide>
        <p15:guide id="9" pos="3743">
          <p15:clr>
            <a:srgbClr val="A4A3A4"/>
          </p15:clr>
        </p15:guide>
        <p15:guide id="10" pos="3935">
          <p15:clr>
            <a:srgbClr val="A4A3A4"/>
          </p15:clr>
        </p15:guide>
        <p15:guide id="11" pos="264">
          <p15:clr>
            <a:srgbClr val="A4A3A4"/>
          </p15:clr>
        </p15:guide>
        <p15:guide id="12" pos="517">
          <p15:clr>
            <a:srgbClr val="A4A3A4"/>
          </p15:clr>
        </p15:guide>
        <p15:guide id="13" pos="6723">
          <p15:clr>
            <a:srgbClr val="A4A3A4"/>
          </p15:clr>
        </p15:guide>
        <p15:guide id="14" pos="5623">
          <p15:clr>
            <a:srgbClr val="A4A3A4"/>
          </p15:clr>
        </p15:guide>
        <p15:guide id="15" pos="907">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elis Partington" initials="MP" lastIdx="28" clrIdx="0"/>
  <p:cmAuthor id="1" name="ramarao" initials="r" lastIdx="2" clrIdx="1"/>
  <p:cmAuthor id="2" name="Chandrashekar, Shanthala" initials="CS" lastIdx="0" clrIdx="2">
    <p:extLst>
      <p:ext uri="{19B8F6BF-5375-455C-9EA6-DF929625EA0E}">
        <p15:presenceInfo xmlns:p15="http://schemas.microsoft.com/office/powerpoint/2012/main" userId="S-1-5-21-1531082355-734649621-3782574898-22724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12ABDB"/>
    <a:srgbClr val="FFFFFF"/>
    <a:srgbClr val="D03833"/>
    <a:srgbClr val="B7BE16"/>
    <a:srgbClr val="D9D9D9"/>
    <a:srgbClr val="00234B"/>
    <a:srgbClr val="8EB4E3"/>
    <a:srgbClr val="CCD5EA"/>
    <a:srgbClr val="1B58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70FC88-9B04-47EF-B01A-EA34EF949FCF}" v="35" dt="2019-01-31T11:50:06.222"/>
  </p1510:revLst>
</p1510:revInfo>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69C7853C-536D-4A76-A0AE-DD22124D55A5}" styleName="Style à thème 1 - Accentuation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5758FB7-9AC5-4552-8A53-C91805E547FA}" styleName="Style à thème 1 - Accentuation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241" autoAdjust="0"/>
    <p:restoredTop sz="95501" autoAdjust="0"/>
  </p:normalViewPr>
  <p:slideViewPr>
    <p:cSldViewPr snapToGrid="0">
      <p:cViewPr varScale="1">
        <p:scale>
          <a:sx n="88" d="100"/>
          <a:sy n="88" d="100"/>
        </p:scale>
        <p:origin x="282" y="84"/>
      </p:cViewPr>
      <p:guideLst>
        <p:guide orient="horz" pos="3948"/>
        <p:guide orient="horz" pos="943"/>
        <p:guide orient="horz" pos="1063"/>
        <p:guide orient="horz" pos="3483"/>
        <p:guide orient="horz" pos="2375"/>
        <p:guide orient="horz" pos="1231"/>
        <p:guide pos="3839"/>
        <p:guide pos="7414"/>
        <p:guide pos="3743"/>
        <p:guide pos="3935"/>
        <p:guide pos="264"/>
        <p:guide pos="517"/>
        <p:guide pos="6723"/>
        <p:guide pos="5623"/>
        <p:guide pos="907"/>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052" y="-1176"/>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notesMaster" Target="notesMasters/notesMaster1.xml"/><Relationship Id="rId42"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 Id="rId43"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ndi, Stéphane" userId="229941cf-5d71-437b-b6f6-728eb74f4ff6" providerId="ADAL" clId="{D770FC88-9B04-47EF-B01A-EA34EF949FCF}"/>
    <pc:docChg chg="custSel addSld modSld sldOrd">
      <pc:chgData name="Landi, Stéphane" userId="229941cf-5d71-437b-b6f6-728eb74f4ff6" providerId="ADAL" clId="{D770FC88-9B04-47EF-B01A-EA34EF949FCF}" dt="2019-01-31T11:50:06.222" v="34"/>
      <pc:docMkLst>
        <pc:docMk/>
      </pc:docMkLst>
      <pc:sldChg chg="ord">
        <pc:chgData name="Landi, Stéphane" userId="229941cf-5d71-437b-b6f6-728eb74f4ff6" providerId="ADAL" clId="{D770FC88-9B04-47EF-B01A-EA34EF949FCF}" dt="2019-01-31T11:43:13.761" v="0"/>
        <pc:sldMkLst>
          <pc:docMk/>
          <pc:sldMk cId="0" sldId="393"/>
        </pc:sldMkLst>
      </pc:sldChg>
      <pc:sldChg chg="addSp delSp modSp">
        <pc:chgData name="Landi, Stéphane" userId="229941cf-5d71-437b-b6f6-728eb74f4ff6" providerId="ADAL" clId="{D770FC88-9B04-47EF-B01A-EA34EF949FCF}" dt="2019-01-31T11:43:56.570" v="27" actId="1038"/>
        <pc:sldMkLst>
          <pc:docMk/>
          <pc:sldMk cId="2695539738" sldId="497"/>
        </pc:sldMkLst>
        <pc:spChg chg="add del">
          <ac:chgData name="Landi, Stéphane" userId="229941cf-5d71-437b-b6f6-728eb74f4ff6" providerId="ADAL" clId="{D770FC88-9B04-47EF-B01A-EA34EF949FCF}" dt="2019-01-31T11:43:44.722" v="5"/>
          <ac:spMkLst>
            <pc:docMk/>
            <pc:sldMk cId="2695539738" sldId="497"/>
            <ac:spMk id="51" creationId="{4D43E7BB-E10B-4E41-93BC-16B52AF103A7}"/>
          </ac:spMkLst>
        </pc:spChg>
        <pc:spChg chg="add del">
          <ac:chgData name="Landi, Stéphane" userId="229941cf-5d71-437b-b6f6-728eb74f4ff6" providerId="ADAL" clId="{D770FC88-9B04-47EF-B01A-EA34EF949FCF}" dt="2019-01-31T11:43:44.722" v="5"/>
          <ac:spMkLst>
            <pc:docMk/>
            <pc:sldMk cId="2695539738" sldId="497"/>
            <ac:spMk id="52" creationId="{4A2452DA-1459-44F2-9AD1-3D9D2FAE04A8}"/>
          </ac:spMkLst>
        </pc:spChg>
        <pc:spChg chg="add del">
          <ac:chgData name="Landi, Stéphane" userId="229941cf-5d71-437b-b6f6-728eb74f4ff6" providerId="ADAL" clId="{D770FC88-9B04-47EF-B01A-EA34EF949FCF}" dt="2019-01-31T11:43:44.722" v="5"/>
          <ac:spMkLst>
            <pc:docMk/>
            <pc:sldMk cId="2695539738" sldId="497"/>
            <ac:spMk id="53" creationId="{BB707890-25A1-4901-A6F7-0CC5F6C6D8EB}"/>
          </ac:spMkLst>
        </pc:spChg>
        <pc:spChg chg="add del">
          <ac:chgData name="Landi, Stéphane" userId="229941cf-5d71-437b-b6f6-728eb74f4ff6" providerId="ADAL" clId="{D770FC88-9B04-47EF-B01A-EA34EF949FCF}" dt="2019-01-31T11:43:44.722" v="5"/>
          <ac:spMkLst>
            <pc:docMk/>
            <pc:sldMk cId="2695539738" sldId="497"/>
            <ac:spMk id="54" creationId="{741CC5C2-86DE-44A7-8C1E-0B5E700F9DAE}"/>
          </ac:spMkLst>
        </pc:spChg>
        <pc:spChg chg="add del">
          <ac:chgData name="Landi, Stéphane" userId="229941cf-5d71-437b-b6f6-728eb74f4ff6" providerId="ADAL" clId="{D770FC88-9B04-47EF-B01A-EA34EF949FCF}" dt="2019-01-31T11:43:44.722" v="5"/>
          <ac:spMkLst>
            <pc:docMk/>
            <pc:sldMk cId="2695539738" sldId="497"/>
            <ac:spMk id="55" creationId="{5E4A12E2-E460-4C29-81B2-200AE59E3024}"/>
          </ac:spMkLst>
        </pc:spChg>
        <pc:spChg chg="add del">
          <ac:chgData name="Landi, Stéphane" userId="229941cf-5d71-437b-b6f6-728eb74f4ff6" providerId="ADAL" clId="{D770FC88-9B04-47EF-B01A-EA34EF949FCF}" dt="2019-01-31T11:43:44.722" v="5"/>
          <ac:spMkLst>
            <pc:docMk/>
            <pc:sldMk cId="2695539738" sldId="497"/>
            <ac:spMk id="56" creationId="{3AE47504-CD04-44CF-A29D-A4DA7018E4F7}"/>
          </ac:spMkLst>
        </pc:spChg>
        <pc:spChg chg="del">
          <ac:chgData name="Landi, Stéphane" userId="229941cf-5d71-437b-b6f6-728eb74f4ff6" providerId="ADAL" clId="{D770FC88-9B04-47EF-B01A-EA34EF949FCF}" dt="2019-01-31T11:43:27.768" v="1" actId="478"/>
          <ac:spMkLst>
            <pc:docMk/>
            <pc:sldMk cId="2695539738" sldId="497"/>
            <ac:spMk id="58" creationId="{1D66C9F9-E899-4A0B-B21E-A139203B8858}"/>
          </ac:spMkLst>
        </pc:spChg>
        <pc:spChg chg="del">
          <ac:chgData name="Landi, Stéphane" userId="229941cf-5d71-437b-b6f6-728eb74f4ff6" providerId="ADAL" clId="{D770FC88-9B04-47EF-B01A-EA34EF949FCF}" dt="2019-01-31T11:43:27.768" v="1" actId="478"/>
          <ac:spMkLst>
            <pc:docMk/>
            <pc:sldMk cId="2695539738" sldId="497"/>
            <ac:spMk id="59" creationId="{41ED5D31-3796-49ED-AF3F-5B52FD456A85}"/>
          </ac:spMkLst>
        </pc:spChg>
        <pc:spChg chg="del">
          <ac:chgData name="Landi, Stéphane" userId="229941cf-5d71-437b-b6f6-728eb74f4ff6" providerId="ADAL" clId="{D770FC88-9B04-47EF-B01A-EA34EF949FCF}" dt="2019-01-31T11:43:27.768" v="1" actId="478"/>
          <ac:spMkLst>
            <pc:docMk/>
            <pc:sldMk cId="2695539738" sldId="497"/>
            <ac:spMk id="60" creationId="{84292DF9-BF58-4B6A-AB72-39C22DFFE4CF}"/>
          </ac:spMkLst>
        </pc:spChg>
        <pc:spChg chg="del">
          <ac:chgData name="Landi, Stéphane" userId="229941cf-5d71-437b-b6f6-728eb74f4ff6" providerId="ADAL" clId="{D770FC88-9B04-47EF-B01A-EA34EF949FCF}" dt="2019-01-31T11:43:27.768" v="1" actId="478"/>
          <ac:spMkLst>
            <pc:docMk/>
            <pc:sldMk cId="2695539738" sldId="497"/>
            <ac:spMk id="61" creationId="{B954F27A-F3FD-4C3E-B023-CD67DA4BC644}"/>
          </ac:spMkLst>
        </pc:spChg>
        <pc:spChg chg="add del">
          <ac:chgData name="Landi, Stéphane" userId="229941cf-5d71-437b-b6f6-728eb74f4ff6" providerId="ADAL" clId="{D770FC88-9B04-47EF-B01A-EA34EF949FCF}" dt="2019-01-31T11:43:44.722" v="5"/>
          <ac:spMkLst>
            <pc:docMk/>
            <pc:sldMk cId="2695539738" sldId="497"/>
            <ac:spMk id="62" creationId="{8D344E0E-21E6-4022-8D60-E6A7F1A0E114}"/>
          </ac:spMkLst>
        </pc:spChg>
        <pc:spChg chg="add del">
          <ac:chgData name="Landi, Stéphane" userId="229941cf-5d71-437b-b6f6-728eb74f4ff6" providerId="ADAL" clId="{D770FC88-9B04-47EF-B01A-EA34EF949FCF}" dt="2019-01-31T11:43:44.722" v="5"/>
          <ac:spMkLst>
            <pc:docMk/>
            <pc:sldMk cId="2695539738" sldId="497"/>
            <ac:spMk id="63" creationId="{B8407BB0-1E64-452F-9308-6E0240F5E20B}"/>
          </ac:spMkLst>
        </pc:spChg>
        <pc:spChg chg="add del">
          <ac:chgData name="Landi, Stéphane" userId="229941cf-5d71-437b-b6f6-728eb74f4ff6" providerId="ADAL" clId="{D770FC88-9B04-47EF-B01A-EA34EF949FCF}" dt="2019-01-31T11:43:44.722" v="5"/>
          <ac:spMkLst>
            <pc:docMk/>
            <pc:sldMk cId="2695539738" sldId="497"/>
            <ac:spMk id="64" creationId="{A2C5FA04-C43F-45DD-90EF-64298C73A96A}"/>
          </ac:spMkLst>
        </pc:spChg>
        <pc:spChg chg="add del">
          <ac:chgData name="Landi, Stéphane" userId="229941cf-5d71-437b-b6f6-728eb74f4ff6" providerId="ADAL" clId="{D770FC88-9B04-47EF-B01A-EA34EF949FCF}" dt="2019-01-31T11:43:44.722" v="5"/>
          <ac:spMkLst>
            <pc:docMk/>
            <pc:sldMk cId="2695539738" sldId="497"/>
            <ac:spMk id="65" creationId="{5A27F064-922D-430A-A1EC-4C7CB92F3EDC}"/>
          </ac:spMkLst>
        </pc:spChg>
        <pc:spChg chg="add del">
          <ac:chgData name="Landi, Stéphane" userId="229941cf-5d71-437b-b6f6-728eb74f4ff6" providerId="ADAL" clId="{D770FC88-9B04-47EF-B01A-EA34EF949FCF}" dt="2019-01-31T11:43:44.722" v="5"/>
          <ac:spMkLst>
            <pc:docMk/>
            <pc:sldMk cId="2695539738" sldId="497"/>
            <ac:spMk id="66" creationId="{7F85184B-F24C-4F89-98CE-70729C9A5FD0}"/>
          </ac:spMkLst>
        </pc:spChg>
        <pc:spChg chg="add del">
          <ac:chgData name="Landi, Stéphane" userId="229941cf-5d71-437b-b6f6-728eb74f4ff6" providerId="ADAL" clId="{D770FC88-9B04-47EF-B01A-EA34EF949FCF}" dt="2019-01-31T11:43:44.722" v="5"/>
          <ac:spMkLst>
            <pc:docMk/>
            <pc:sldMk cId="2695539738" sldId="497"/>
            <ac:spMk id="67" creationId="{607E5B7C-1733-4969-9EC3-B411782C50EA}"/>
          </ac:spMkLst>
        </pc:spChg>
        <pc:spChg chg="add del">
          <ac:chgData name="Landi, Stéphane" userId="229941cf-5d71-437b-b6f6-728eb74f4ff6" providerId="ADAL" clId="{D770FC88-9B04-47EF-B01A-EA34EF949FCF}" dt="2019-01-31T11:43:44.722" v="5"/>
          <ac:spMkLst>
            <pc:docMk/>
            <pc:sldMk cId="2695539738" sldId="497"/>
            <ac:spMk id="68" creationId="{5EEF3764-F42E-462C-99FD-DE1ACDF47411}"/>
          </ac:spMkLst>
        </pc:spChg>
        <pc:spChg chg="add del">
          <ac:chgData name="Landi, Stéphane" userId="229941cf-5d71-437b-b6f6-728eb74f4ff6" providerId="ADAL" clId="{D770FC88-9B04-47EF-B01A-EA34EF949FCF}" dt="2019-01-31T11:43:44.722" v="5"/>
          <ac:spMkLst>
            <pc:docMk/>
            <pc:sldMk cId="2695539738" sldId="497"/>
            <ac:spMk id="69" creationId="{44589B4F-1F88-4CB6-AD3D-B62B9FD44283}"/>
          </ac:spMkLst>
        </pc:spChg>
        <pc:spChg chg="add del">
          <ac:chgData name="Landi, Stéphane" userId="229941cf-5d71-437b-b6f6-728eb74f4ff6" providerId="ADAL" clId="{D770FC88-9B04-47EF-B01A-EA34EF949FCF}" dt="2019-01-31T11:43:44.722" v="5"/>
          <ac:spMkLst>
            <pc:docMk/>
            <pc:sldMk cId="2695539738" sldId="497"/>
            <ac:spMk id="70" creationId="{381D83E9-978B-4FB6-BA35-DDE3E309F516}"/>
          </ac:spMkLst>
        </pc:spChg>
        <pc:spChg chg="add del">
          <ac:chgData name="Landi, Stéphane" userId="229941cf-5d71-437b-b6f6-728eb74f4ff6" providerId="ADAL" clId="{D770FC88-9B04-47EF-B01A-EA34EF949FCF}" dt="2019-01-31T11:43:44.722" v="5"/>
          <ac:spMkLst>
            <pc:docMk/>
            <pc:sldMk cId="2695539738" sldId="497"/>
            <ac:spMk id="71" creationId="{8E262FC2-71A5-4155-B44C-D35856DCF1A4}"/>
          </ac:spMkLst>
        </pc:spChg>
        <pc:spChg chg="add del">
          <ac:chgData name="Landi, Stéphane" userId="229941cf-5d71-437b-b6f6-728eb74f4ff6" providerId="ADAL" clId="{D770FC88-9B04-47EF-B01A-EA34EF949FCF}" dt="2019-01-31T11:43:44.722" v="5"/>
          <ac:spMkLst>
            <pc:docMk/>
            <pc:sldMk cId="2695539738" sldId="497"/>
            <ac:spMk id="72" creationId="{CCF16A45-CE47-4151-A092-AAA1FD062A35}"/>
          </ac:spMkLst>
        </pc:spChg>
        <pc:spChg chg="add del">
          <ac:chgData name="Landi, Stéphane" userId="229941cf-5d71-437b-b6f6-728eb74f4ff6" providerId="ADAL" clId="{D770FC88-9B04-47EF-B01A-EA34EF949FCF}" dt="2019-01-31T11:43:44.722" v="5"/>
          <ac:spMkLst>
            <pc:docMk/>
            <pc:sldMk cId="2695539738" sldId="497"/>
            <ac:spMk id="73" creationId="{E4D1CB6C-9766-4E67-AF60-3D55AC9AAC26}"/>
          </ac:spMkLst>
        </pc:spChg>
        <pc:spChg chg="add del">
          <ac:chgData name="Landi, Stéphane" userId="229941cf-5d71-437b-b6f6-728eb74f4ff6" providerId="ADAL" clId="{D770FC88-9B04-47EF-B01A-EA34EF949FCF}" dt="2019-01-31T11:43:44.722" v="5"/>
          <ac:spMkLst>
            <pc:docMk/>
            <pc:sldMk cId="2695539738" sldId="497"/>
            <ac:spMk id="74" creationId="{8D50D260-2098-437D-9318-990F02C9F55E}"/>
          </ac:spMkLst>
        </pc:spChg>
        <pc:spChg chg="add del">
          <ac:chgData name="Landi, Stéphane" userId="229941cf-5d71-437b-b6f6-728eb74f4ff6" providerId="ADAL" clId="{D770FC88-9B04-47EF-B01A-EA34EF949FCF}" dt="2019-01-31T11:43:44.722" v="5"/>
          <ac:spMkLst>
            <pc:docMk/>
            <pc:sldMk cId="2695539738" sldId="497"/>
            <ac:spMk id="75" creationId="{2E682225-1AFE-4D0E-A0A4-68B832276191}"/>
          </ac:spMkLst>
        </pc:spChg>
        <pc:spChg chg="add del">
          <ac:chgData name="Landi, Stéphane" userId="229941cf-5d71-437b-b6f6-728eb74f4ff6" providerId="ADAL" clId="{D770FC88-9B04-47EF-B01A-EA34EF949FCF}" dt="2019-01-31T11:43:44.722" v="5"/>
          <ac:spMkLst>
            <pc:docMk/>
            <pc:sldMk cId="2695539738" sldId="497"/>
            <ac:spMk id="76" creationId="{C2F1D749-14BF-4D7A-848F-AA0CF12B80CD}"/>
          </ac:spMkLst>
        </pc:spChg>
        <pc:spChg chg="add del">
          <ac:chgData name="Landi, Stéphane" userId="229941cf-5d71-437b-b6f6-728eb74f4ff6" providerId="ADAL" clId="{D770FC88-9B04-47EF-B01A-EA34EF949FCF}" dt="2019-01-31T11:43:44.722" v="5"/>
          <ac:spMkLst>
            <pc:docMk/>
            <pc:sldMk cId="2695539738" sldId="497"/>
            <ac:spMk id="77" creationId="{A557A6A4-BE9A-4501-8A57-7013DD658937}"/>
          </ac:spMkLst>
        </pc:spChg>
        <pc:spChg chg="add del">
          <ac:chgData name="Landi, Stéphane" userId="229941cf-5d71-437b-b6f6-728eb74f4ff6" providerId="ADAL" clId="{D770FC88-9B04-47EF-B01A-EA34EF949FCF}" dt="2019-01-31T11:43:44.722" v="5"/>
          <ac:spMkLst>
            <pc:docMk/>
            <pc:sldMk cId="2695539738" sldId="497"/>
            <ac:spMk id="78" creationId="{72938C25-D4FF-4021-B4F1-135C086E4945}"/>
          </ac:spMkLst>
        </pc:spChg>
        <pc:spChg chg="add del">
          <ac:chgData name="Landi, Stéphane" userId="229941cf-5d71-437b-b6f6-728eb74f4ff6" providerId="ADAL" clId="{D770FC88-9B04-47EF-B01A-EA34EF949FCF}" dt="2019-01-31T11:43:44.722" v="5"/>
          <ac:spMkLst>
            <pc:docMk/>
            <pc:sldMk cId="2695539738" sldId="497"/>
            <ac:spMk id="79" creationId="{6AA20F40-0D07-43F9-A310-DBD36E781D26}"/>
          </ac:spMkLst>
        </pc:spChg>
        <pc:spChg chg="add del">
          <ac:chgData name="Landi, Stéphane" userId="229941cf-5d71-437b-b6f6-728eb74f4ff6" providerId="ADAL" clId="{D770FC88-9B04-47EF-B01A-EA34EF949FCF}" dt="2019-01-31T11:43:44.722" v="5"/>
          <ac:spMkLst>
            <pc:docMk/>
            <pc:sldMk cId="2695539738" sldId="497"/>
            <ac:spMk id="80" creationId="{E87D11BD-99E0-4C80-9417-9925FD45E17B}"/>
          </ac:spMkLst>
        </pc:spChg>
        <pc:spChg chg="add del">
          <ac:chgData name="Landi, Stéphane" userId="229941cf-5d71-437b-b6f6-728eb74f4ff6" providerId="ADAL" clId="{D770FC88-9B04-47EF-B01A-EA34EF949FCF}" dt="2019-01-31T11:43:44.722" v="5"/>
          <ac:spMkLst>
            <pc:docMk/>
            <pc:sldMk cId="2695539738" sldId="497"/>
            <ac:spMk id="81" creationId="{1571B3EC-C51E-4116-B806-EE402109C630}"/>
          </ac:spMkLst>
        </pc:spChg>
        <pc:spChg chg="add del">
          <ac:chgData name="Landi, Stéphane" userId="229941cf-5d71-437b-b6f6-728eb74f4ff6" providerId="ADAL" clId="{D770FC88-9B04-47EF-B01A-EA34EF949FCF}" dt="2019-01-31T11:43:44.722" v="5"/>
          <ac:spMkLst>
            <pc:docMk/>
            <pc:sldMk cId="2695539738" sldId="497"/>
            <ac:spMk id="82" creationId="{6B393867-9484-40C4-93C6-1400126AE6F3}"/>
          </ac:spMkLst>
        </pc:spChg>
        <pc:spChg chg="add del">
          <ac:chgData name="Landi, Stéphane" userId="229941cf-5d71-437b-b6f6-728eb74f4ff6" providerId="ADAL" clId="{D770FC88-9B04-47EF-B01A-EA34EF949FCF}" dt="2019-01-31T11:43:44.722" v="5"/>
          <ac:spMkLst>
            <pc:docMk/>
            <pc:sldMk cId="2695539738" sldId="497"/>
            <ac:spMk id="83" creationId="{96E5D37C-C4AB-47DF-B647-1D3BA93A6540}"/>
          </ac:spMkLst>
        </pc:spChg>
        <pc:spChg chg="add del">
          <ac:chgData name="Landi, Stéphane" userId="229941cf-5d71-437b-b6f6-728eb74f4ff6" providerId="ADAL" clId="{D770FC88-9B04-47EF-B01A-EA34EF949FCF}" dt="2019-01-31T11:43:44.722" v="5"/>
          <ac:spMkLst>
            <pc:docMk/>
            <pc:sldMk cId="2695539738" sldId="497"/>
            <ac:spMk id="84" creationId="{0F868A0E-3712-4FFB-90EA-8C95A38CC0C7}"/>
          </ac:spMkLst>
        </pc:spChg>
        <pc:spChg chg="add del">
          <ac:chgData name="Landi, Stéphane" userId="229941cf-5d71-437b-b6f6-728eb74f4ff6" providerId="ADAL" clId="{D770FC88-9B04-47EF-B01A-EA34EF949FCF}" dt="2019-01-31T11:43:44.722" v="5"/>
          <ac:spMkLst>
            <pc:docMk/>
            <pc:sldMk cId="2695539738" sldId="497"/>
            <ac:spMk id="85" creationId="{E038F98B-ABC0-4790-8CA4-496E7F5013F1}"/>
          </ac:spMkLst>
        </pc:spChg>
        <pc:spChg chg="add del">
          <ac:chgData name="Landi, Stéphane" userId="229941cf-5d71-437b-b6f6-728eb74f4ff6" providerId="ADAL" clId="{D770FC88-9B04-47EF-B01A-EA34EF949FCF}" dt="2019-01-31T11:43:44.722" v="5"/>
          <ac:spMkLst>
            <pc:docMk/>
            <pc:sldMk cId="2695539738" sldId="497"/>
            <ac:spMk id="86" creationId="{8880CAA6-7554-480A-8203-CF0B38C48C11}"/>
          </ac:spMkLst>
        </pc:spChg>
        <pc:spChg chg="add del">
          <ac:chgData name="Landi, Stéphane" userId="229941cf-5d71-437b-b6f6-728eb74f4ff6" providerId="ADAL" clId="{D770FC88-9B04-47EF-B01A-EA34EF949FCF}" dt="2019-01-31T11:43:44.722" v="5"/>
          <ac:spMkLst>
            <pc:docMk/>
            <pc:sldMk cId="2695539738" sldId="497"/>
            <ac:spMk id="87" creationId="{3761A1E9-0FB8-4D9C-9103-9D76AC0F9957}"/>
          </ac:spMkLst>
        </pc:spChg>
        <pc:spChg chg="add del">
          <ac:chgData name="Landi, Stéphane" userId="229941cf-5d71-437b-b6f6-728eb74f4ff6" providerId="ADAL" clId="{D770FC88-9B04-47EF-B01A-EA34EF949FCF}" dt="2019-01-31T11:43:44.722" v="5"/>
          <ac:spMkLst>
            <pc:docMk/>
            <pc:sldMk cId="2695539738" sldId="497"/>
            <ac:spMk id="88" creationId="{2AB67BD3-AE12-4542-90D9-148B77249DCB}"/>
          </ac:spMkLst>
        </pc:spChg>
        <pc:spChg chg="add del">
          <ac:chgData name="Landi, Stéphane" userId="229941cf-5d71-437b-b6f6-728eb74f4ff6" providerId="ADAL" clId="{D770FC88-9B04-47EF-B01A-EA34EF949FCF}" dt="2019-01-31T11:43:44.722" v="5"/>
          <ac:spMkLst>
            <pc:docMk/>
            <pc:sldMk cId="2695539738" sldId="497"/>
            <ac:spMk id="89" creationId="{7FE2D5F0-CDC1-4CDC-9D0F-43E37FA80E25}"/>
          </ac:spMkLst>
        </pc:spChg>
        <pc:spChg chg="add del">
          <ac:chgData name="Landi, Stéphane" userId="229941cf-5d71-437b-b6f6-728eb74f4ff6" providerId="ADAL" clId="{D770FC88-9B04-47EF-B01A-EA34EF949FCF}" dt="2019-01-31T11:43:44.722" v="5"/>
          <ac:spMkLst>
            <pc:docMk/>
            <pc:sldMk cId="2695539738" sldId="497"/>
            <ac:spMk id="90" creationId="{D8F93E4E-83E0-4067-9C19-B014AF883D58}"/>
          </ac:spMkLst>
        </pc:spChg>
        <pc:spChg chg="add del">
          <ac:chgData name="Landi, Stéphane" userId="229941cf-5d71-437b-b6f6-728eb74f4ff6" providerId="ADAL" clId="{D770FC88-9B04-47EF-B01A-EA34EF949FCF}" dt="2019-01-31T11:43:44.722" v="5"/>
          <ac:spMkLst>
            <pc:docMk/>
            <pc:sldMk cId="2695539738" sldId="497"/>
            <ac:spMk id="91" creationId="{74A2DC84-64EA-49CA-89E1-5792F3F75FAD}"/>
          </ac:spMkLst>
        </pc:spChg>
        <pc:spChg chg="add del">
          <ac:chgData name="Landi, Stéphane" userId="229941cf-5d71-437b-b6f6-728eb74f4ff6" providerId="ADAL" clId="{D770FC88-9B04-47EF-B01A-EA34EF949FCF}" dt="2019-01-31T11:43:44.722" v="5"/>
          <ac:spMkLst>
            <pc:docMk/>
            <pc:sldMk cId="2695539738" sldId="497"/>
            <ac:spMk id="92" creationId="{08D456FC-36EC-42EA-8D5A-C9912FB89D46}"/>
          </ac:spMkLst>
        </pc:spChg>
        <pc:spChg chg="add del">
          <ac:chgData name="Landi, Stéphane" userId="229941cf-5d71-437b-b6f6-728eb74f4ff6" providerId="ADAL" clId="{D770FC88-9B04-47EF-B01A-EA34EF949FCF}" dt="2019-01-31T11:43:44.722" v="5"/>
          <ac:spMkLst>
            <pc:docMk/>
            <pc:sldMk cId="2695539738" sldId="497"/>
            <ac:spMk id="93" creationId="{BA0DA2EB-E006-4643-AC9D-4D007C9D12F4}"/>
          </ac:spMkLst>
        </pc:spChg>
        <pc:spChg chg="add del">
          <ac:chgData name="Landi, Stéphane" userId="229941cf-5d71-437b-b6f6-728eb74f4ff6" providerId="ADAL" clId="{D770FC88-9B04-47EF-B01A-EA34EF949FCF}" dt="2019-01-31T11:43:44.722" v="5"/>
          <ac:spMkLst>
            <pc:docMk/>
            <pc:sldMk cId="2695539738" sldId="497"/>
            <ac:spMk id="94" creationId="{B706607F-7FEF-4B7C-9EFD-1AA484D3534D}"/>
          </ac:spMkLst>
        </pc:spChg>
        <pc:spChg chg="add del">
          <ac:chgData name="Landi, Stéphane" userId="229941cf-5d71-437b-b6f6-728eb74f4ff6" providerId="ADAL" clId="{D770FC88-9B04-47EF-B01A-EA34EF949FCF}" dt="2019-01-31T11:43:44.722" v="5"/>
          <ac:spMkLst>
            <pc:docMk/>
            <pc:sldMk cId="2695539738" sldId="497"/>
            <ac:spMk id="95" creationId="{68C6DDF8-4DA8-4672-BC41-CB77C113696B}"/>
          </ac:spMkLst>
        </pc:spChg>
        <pc:spChg chg="add del">
          <ac:chgData name="Landi, Stéphane" userId="229941cf-5d71-437b-b6f6-728eb74f4ff6" providerId="ADAL" clId="{D770FC88-9B04-47EF-B01A-EA34EF949FCF}" dt="2019-01-31T11:43:44.722" v="5"/>
          <ac:spMkLst>
            <pc:docMk/>
            <pc:sldMk cId="2695539738" sldId="497"/>
            <ac:spMk id="96" creationId="{E0B4C421-46B9-4CB1-846F-5453AA793BA3}"/>
          </ac:spMkLst>
        </pc:spChg>
        <pc:spChg chg="add del">
          <ac:chgData name="Landi, Stéphane" userId="229941cf-5d71-437b-b6f6-728eb74f4ff6" providerId="ADAL" clId="{D770FC88-9B04-47EF-B01A-EA34EF949FCF}" dt="2019-01-31T11:43:44.722" v="5"/>
          <ac:spMkLst>
            <pc:docMk/>
            <pc:sldMk cId="2695539738" sldId="497"/>
            <ac:spMk id="97" creationId="{BE2D8EB6-F894-4A09-9EC1-A236914410B8}"/>
          </ac:spMkLst>
        </pc:spChg>
        <pc:spChg chg="add del">
          <ac:chgData name="Landi, Stéphane" userId="229941cf-5d71-437b-b6f6-728eb74f4ff6" providerId="ADAL" clId="{D770FC88-9B04-47EF-B01A-EA34EF949FCF}" dt="2019-01-31T11:43:44.722" v="5"/>
          <ac:spMkLst>
            <pc:docMk/>
            <pc:sldMk cId="2695539738" sldId="497"/>
            <ac:spMk id="98" creationId="{141F5516-AA9D-46C2-ACE5-313C3453B70C}"/>
          </ac:spMkLst>
        </pc:spChg>
        <pc:spChg chg="add del">
          <ac:chgData name="Landi, Stéphane" userId="229941cf-5d71-437b-b6f6-728eb74f4ff6" providerId="ADAL" clId="{D770FC88-9B04-47EF-B01A-EA34EF949FCF}" dt="2019-01-31T11:43:44.722" v="5"/>
          <ac:spMkLst>
            <pc:docMk/>
            <pc:sldMk cId="2695539738" sldId="497"/>
            <ac:spMk id="99" creationId="{B9821DD9-8A60-4E13-AE33-D7172AD0709C}"/>
          </ac:spMkLst>
        </pc:spChg>
        <pc:spChg chg="add del">
          <ac:chgData name="Landi, Stéphane" userId="229941cf-5d71-437b-b6f6-728eb74f4ff6" providerId="ADAL" clId="{D770FC88-9B04-47EF-B01A-EA34EF949FCF}" dt="2019-01-31T11:43:44.722" v="5"/>
          <ac:spMkLst>
            <pc:docMk/>
            <pc:sldMk cId="2695539738" sldId="497"/>
            <ac:spMk id="100" creationId="{83DA137A-B5BE-4E60-8E2C-37FBC0C7CF05}"/>
          </ac:spMkLst>
        </pc:spChg>
        <pc:spChg chg="del">
          <ac:chgData name="Landi, Stéphane" userId="229941cf-5d71-437b-b6f6-728eb74f4ff6" providerId="ADAL" clId="{D770FC88-9B04-47EF-B01A-EA34EF949FCF}" dt="2019-01-31T11:43:29.794" v="2" actId="478"/>
          <ac:spMkLst>
            <pc:docMk/>
            <pc:sldMk cId="2695539738" sldId="497"/>
            <ac:spMk id="101" creationId="{0DB432D3-9166-4D46-9EED-2A15B76F575E}"/>
          </ac:spMkLst>
        </pc:spChg>
        <pc:spChg chg="add del">
          <ac:chgData name="Landi, Stéphane" userId="229941cf-5d71-437b-b6f6-728eb74f4ff6" providerId="ADAL" clId="{D770FC88-9B04-47EF-B01A-EA34EF949FCF}" dt="2019-01-31T11:43:44.722" v="5"/>
          <ac:spMkLst>
            <pc:docMk/>
            <pc:sldMk cId="2695539738" sldId="497"/>
            <ac:spMk id="102" creationId="{691354FD-3E8A-49A6-8C27-B430183A2AFF}"/>
          </ac:spMkLst>
        </pc:spChg>
        <pc:spChg chg="add del">
          <ac:chgData name="Landi, Stéphane" userId="229941cf-5d71-437b-b6f6-728eb74f4ff6" providerId="ADAL" clId="{D770FC88-9B04-47EF-B01A-EA34EF949FCF}" dt="2019-01-31T11:43:44.722" v="5"/>
          <ac:spMkLst>
            <pc:docMk/>
            <pc:sldMk cId="2695539738" sldId="497"/>
            <ac:spMk id="103" creationId="{60992633-3398-4194-B34E-6BCA8B92935B}"/>
          </ac:spMkLst>
        </pc:spChg>
        <pc:spChg chg="add del">
          <ac:chgData name="Landi, Stéphane" userId="229941cf-5d71-437b-b6f6-728eb74f4ff6" providerId="ADAL" clId="{D770FC88-9B04-47EF-B01A-EA34EF949FCF}" dt="2019-01-31T11:43:44.722" v="5"/>
          <ac:spMkLst>
            <pc:docMk/>
            <pc:sldMk cId="2695539738" sldId="497"/>
            <ac:spMk id="104" creationId="{B7E9D2FA-670F-46CE-BBAA-21DDEAD8CA53}"/>
          </ac:spMkLst>
        </pc:spChg>
        <pc:spChg chg="add del">
          <ac:chgData name="Landi, Stéphane" userId="229941cf-5d71-437b-b6f6-728eb74f4ff6" providerId="ADAL" clId="{D770FC88-9B04-47EF-B01A-EA34EF949FCF}" dt="2019-01-31T11:43:44.722" v="5"/>
          <ac:spMkLst>
            <pc:docMk/>
            <pc:sldMk cId="2695539738" sldId="497"/>
            <ac:spMk id="106" creationId="{FBC70B6A-4615-4B42-88CE-A411A86FB6DB}"/>
          </ac:spMkLst>
        </pc:spChg>
        <pc:spChg chg="add del">
          <ac:chgData name="Landi, Stéphane" userId="229941cf-5d71-437b-b6f6-728eb74f4ff6" providerId="ADAL" clId="{D770FC88-9B04-47EF-B01A-EA34EF949FCF}" dt="2019-01-31T11:43:44.722" v="5"/>
          <ac:spMkLst>
            <pc:docMk/>
            <pc:sldMk cId="2695539738" sldId="497"/>
            <ac:spMk id="107" creationId="{2ADC3318-6F44-483D-B317-2EE2066F3E3A}"/>
          </ac:spMkLst>
        </pc:spChg>
        <pc:spChg chg="add">
          <ac:chgData name="Landi, Stéphane" userId="229941cf-5d71-437b-b6f6-728eb74f4ff6" providerId="ADAL" clId="{D770FC88-9B04-47EF-B01A-EA34EF949FCF}" dt="2019-01-31T11:43:44.763" v="6"/>
          <ac:spMkLst>
            <pc:docMk/>
            <pc:sldMk cId="2695539738" sldId="497"/>
            <ac:spMk id="109" creationId="{AC0B16D9-7659-48CD-AE35-CCCE542A68F0}"/>
          </ac:spMkLst>
        </pc:spChg>
        <pc:spChg chg="add">
          <ac:chgData name="Landi, Stéphane" userId="229941cf-5d71-437b-b6f6-728eb74f4ff6" providerId="ADAL" clId="{D770FC88-9B04-47EF-B01A-EA34EF949FCF}" dt="2019-01-31T11:43:44.763" v="6"/>
          <ac:spMkLst>
            <pc:docMk/>
            <pc:sldMk cId="2695539738" sldId="497"/>
            <ac:spMk id="110" creationId="{5EDFDB60-CD64-4253-A826-D0576FE6F93F}"/>
          </ac:spMkLst>
        </pc:spChg>
        <pc:spChg chg="add">
          <ac:chgData name="Landi, Stéphane" userId="229941cf-5d71-437b-b6f6-728eb74f4ff6" providerId="ADAL" clId="{D770FC88-9B04-47EF-B01A-EA34EF949FCF}" dt="2019-01-31T11:43:44.763" v="6"/>
          <ac:spMkLst>
            <pc:docMk/>
            <pc:sldMk cId="2695539738" sldId="497"/>
            <ac:spMk id="111" creationId="{D6CEE398-79C9-4E70-AE50-796BF533DF09}"/>
          </ac:spMkLst>
        </pc:spChg>
        <pc:spChg chg="add">
          <ac:chgData name="Landi, Stéphane" userId="229941cf-5d71-437b-b6f6-728eb74f4ff6" providerId="ADAL" clId="{D770FC88-9B04-47EF-B01A-EA34EF949FCF}" dt="2019-01-31T11:43:44.763" v="6"/>
          <ac:spMkLst>
            <pc:docMk/>
            <pc:sldMk cId="2695539738" sldId="497"/>
            <ac:spMk id="112" creationId="{2B2BF1AA-128C-4A95-A3D3-04C1209329CA}"/>
          </ac:spMkLst>
        </pc:spChg>
        <pc:spChg chg="add">
          <ac:chgData name="Landi, Stéphane" userId="229941cf-5d71-437b-b6f6-728eb74f4ff6" providerId="ADAL" clId="{D770FC88-9B04-47EF-B01A-EA34EF949FCF}" dt="2019-01-31T11:43:44.763" v="6"/>
          <ac:spMkLst>
            <pc:docMk/>
            <pc:sldMk cId="2695539738" sldId="497"/>
            <ac:spMk id="113" creationId="{BA46709A-0A83-4938-A5C3-85D2BA0EC246}"/>
          </ac:spMkLst>
        </pc:spChg>
        <pc:spChg chg="add">
          <ac:chgData name="Landi, Stéphane" userId="229941cf-5d71-437b-b6f6-728eb74f4ff6" providerId="ADAL" clId="{D770FC88-9B04-47EF-B01A-EA34EF949FCF}" dt="2019-01-31T11:43:44.763" v="6"/>
          <ac:spMkLst>
            <pc:docMk/>
            <pc:sldMk cId="2695539738" sldId="497"/>
            <ac:spMk id="114" creationId="{7F0B8C35-5C05-4962-BE0C-778ED8605FBD}"/>
          </ac:spMkLst>
        </pc:spChg>
        <pc:spChg chg="del">
          <ac:chgData name="Landi, Stéphane" userId="229941cf-5d71-437b-b6f6-728eb74f4ff6" providerId="ADAL" clId="{D770FC88-9B04-47EF-B01A-EA34EF949FCF}" dt="2019-01-31T11:43:27.768" v="1" actId="478"/>
          <ac:spMkLst>
            <pc:docMk/>
            <pc:sldMk cId="2695539738" sldId="497"/>
            <ac:spMk id="115" creationId="{8B540A27-4702-4581-A6E4-6D67BB75C22D}"/>
          </ac:spMkLst>
        </pc:spChg>
        <pc:spChg chg="del">
          <ac:chgData name="Landi, Stéphane" userId="229941cf-5d71-437b-b6f6-728eb74f4ff6" providerId="ADAL" clId="{D770FC88-9B04-47EF-B01A-EA34EF949FCF}" dt="2019-01-31T11:43:27.768" v="1" actId="478"/>
          <ac:spMkLst>
            <pc:docMk/>
            <pc:sldMk cId="2695539738" sldId="497"/>
            <ac:spMk id="116" creationId="{2EDFF179-CFA1-4E3F-91DC-5D8ACF41FC46}"/>
          </ac:spMkLst>
        </pc:spChg>
        <pc:spChg chg="del">
          <ac:chgData name="Landi, Stéphane" userId="229941cf-5d71-437b-b6f6-728eb74f4ff6" providerId="ADAL" clId="{D770FC88-9B04-47EF-B01A-EA34EF949FCF}" dt="2019-01-31T11:43:27.768" v="1" actId="478"/>
          <ac:spMkLst>
            <pc:docMk/>
            <pc:sldMk cId="2695539738" sldId="497"/>
            <ac:spMk id="117" creationId="{73BF2B9A-D4B4-4E8A-9034-73D610721264}"/>
          </ac:spMkLst>
        </pc:spChg>
        <pc:spChg chg="del">
          <ac:chgData name="Landi, Stéphane" userId="229941cf-5d71-437b-b6f6-728eb74f4ff6" providerId="ADAL" clId="{D770FC88-9B04-47EF-B01A-EA34EF949FCF}" dt="2019-01-31T11:43:27.768" v="1" actId="478"/>
          <ac:spMkLst>
            <pc:docMk/>
            <pc:sldMk cId="2695539738" sldId="497"/>
            <ac:spMk id="118" creationId="{5E075BE4-1A43-4888-ABCA-5C2C6CC64D64}"/>
          </ac:spMkLst>
        </pc:spChg>
        <pc:spChg chg="del">
          <ac:chgData name="Landi, Stéphane" userId="229941cf-5d71-437b-b6f6-728eb74f4ff6" providerId="ADAL" clId="{D770FC88-9B04-47EF-B01A-EA34EF949FCF}" dt="2019-01-31T11:43:27.768" v="1" actId="478"/>
          <ac:spMkLst>
            <pc:docMk/>
            <pc:sldMk cId="2695539738" sldId="497"/>
            <ac:spMk id="119" creationId="{520FF7E8-56AA-4C42-AF0F-4E510F18BC35}"/>
          </ac:spMkLst>
        </pc:spChg>
        <pc:spChg chg="del">
          <ac:chgData name="Landi, Stéphane" userId="229941cf-5d71-437b-b6f6-728eb74f4ff6" providerId="ADAL" clId="{D770FC88-9B04-47EF-B01A-EA34EF949FCF}" dt="2019-01-31T11:43:27.768" v="1" actId="478"/>
          <ac:spMkLst>
            <pc:docMk/>
            <pc:sldMk cId="2695539738" sldId="497"/>
            <ac:spMk id="120" creationId="{4B0EB620-3854-4375-8569-7C37055B2328}"/>
          </ac:spMkLst>
        </pc:spChg>
        <pc:spChg chg="del">
          <ac:chgData name="Landi, Stéphane" userId="229941cf-5d71-437b-b6f6-728eb74f4ff6" providerId="ADAL" clId="{D770FC88-9B04-47EF-B01A-EA34EF949FCF}" dt="2019-01-31T11:43:27.768" v="1" actId="478"/>
          <ac:spMkLst>
            <pc:docMk/>
            <pc:sldMk cId="2695539738" sldId="497"/>
            <ac:spMk id="121" creationId="{8F5CD859-D5FB-4638-A818-0B8E53944DE1}"/>
          </ac:spMkLst>
        </pc:spChg>
        <pc:spChg chg="del">
          <ac:chgData name="Landi, Stéphane" userId="229941cf-5d71-437b-b6f6-728eb74f4ff6" providerId="ADAL" clId="{D770FC88-9B04-47EF-B01A-EA34EF949FCF}" dt="2019-01-31T11:43:27.768" v="1" actId="478"/>
          <ac:spMkLst>
            <pc:docMk/>
            <pc:sldMk cId="2695539738" sldId="497"/>
            <ac:spMk id="122" creationId="{5E9D484F-CA46-48AE-9C3D-9A28A39F39EC}"/>
          </ac:spMkLst>
        </pc:spChg>
        <pc:spChg chg="del">
          <ac:chgData name="Landi, Stéphane" userId="229941cf-5d71-437b-b6f6-728eb74f4ff6" providerId="ADAL" clId="{D770FC88-9B04-47EF-B01A-EA34EF949FCF}" dt="2019-01-31T11:43:27.768" v="1" actId="478"/>
          <ac:spMkLst>
            <pc:docMk/>
            <pc:sldMk cId="2695539738" sldId="497"/>
            <ac:spMk id="123" creationId="{983A54E2-DCFA-47C5-AD87-0533922CC0E3}"/>
          </ac:spMkLst>
        </pc:spChg>
        <pc:spChg chg="del">
          <ac:chgData name="Landi, Stéphane" userId="229941cf-5d71-437b-b6f6-728eb74f4ff6" providerId="ADAL" clId="{D770FC88-9B04-47EF-B01A-EA34EF949FCF}" dt="2019-01-31T11:43:27.768" v="1" actId="478"/>
          <ac:spMkLst>
            <pc:docMk/>
            <pc:sldMk cId="2695539738" sldId="497"/>
            <ac:spMk id="124" creationId="{EEF51047-1143-426F-A9F0-C34B4A382326}"/>
          </ac:spMkLst>
        </pc:spChg>
        <pc:spChg chg="del">
          <ac:chgData name="Landi, Stéphane" userId="229941cf-5d71-437b-b6f6-728eb74f4ff6" providerId="ADAL" clId="{D770FC88-9B04-47EF-B01A-EA34EF949FCF}" dt="2019-01-31T11:43:27.768" v="1" actId="478"/>
          <ac:spMkLst>
            <pc:docMk/>
            <pc:sldMk cId="2695539738" sldId="497"/>
            <ac:spMk id="125" creationId="{6CDE9DB6-1C3D-4E68-8446-D0031AFA0A27}"/>
          </ac:spMkLst>
        </pc:spChg>
        <pc:spChg chg="del">
          <ac:chgData name="Landi, Stéphane" userId="229941cf-5d71-437b-b6f6-728eb74f4ff6" providerId="ADAL" clId="{D770FC88-9B04-47EF-B01A-EA34EF949FCF}" dt="2019-01-31T11:43:27.768" v="1" actId="478"/>
          <ac:spMkLst>
            <pc:docMk/>
            <pc:sldMk cId="2695539738" sldId="497"/>
            <ac:spMk id="126" creationId="{5BCE1F08-C9EE-4820-8350-2EEFD7DC16EC}"/>
          </ac:spMkLst>
        </pc:spChg>
        <pc:spChg chg="del">
          <ac:chgData name="Landi, Stéphane" userId="229941cf-5d71-437b-b6f6-728eb74f4ff6" providerId="ADAL" clId="{D770FC88-9B04-47EF-B01A-EA34EF949FCF}" dt="2019-01-31T11:43:27.768" v="1" actId="478"/>
          <ac:spMkLst>
            <pc:docMk/>
            <pc:sldMk cId="2695539738" sldId="497"/>
            <ac:spMk id="127" creationId="{FF61AA26-B090-4A65-B794-4C56C7162288}"/>
          </ac:spMkLst>
        </pc:spChg>
        <pc:spChg chg="del">
          <ac:chgData name="Landi, Stéphane" userId="229941cf-5d71-437b-b6f6-728eb74f4ff6" providerId="ADAL" clId="{D770FC88-9B04-47EF-B01A-EA34EF949FCF}" dt="2019-01-31T11:43:27.768" v="1" actId="478"/>
          <ac:spMkLst>
            <pc:docMk/>
            <pc:sldMk cId="2695539738" sldId="497"/>
            <ac:spMk id="128" creationId="{EE91EA93-FC27-45B8-9BFD-84A26923618F}"/>
          </ac:spMkLst>
        </pc:spChg>
        <pc:spChg chg="del">
          <ac:chgData name="Landi, Stéphane" userId="229941cf-5d71-437b-b6f6-728eb74f4ff6" providerId="ADAL" clId="{D770FC88-9B04-47EF-B01A-EA34EF949FCF}" dt="2019-01-31T11:43:27.768" v="1" actId="478"/>
          <ac:spMkLst>
            <pc:docMk/>
            <pc:sldMk cId="2695539738" sldId="497"/>
            <ac:spMk id="129" creationId="{72B00D57-28D6-43C6-909D-E8D21FF44E5F}"/>
          </ac:spMkLst>
        </pc:spChg>
        <pc:spChg chg="del">
          <ac:chgData name="Landi, Stéphane" userId="229941cf-5d71-437b-b6f6-728eb74f4ff6" providerId="ADAL" clId="{D770FC88-9B04-47EF-B01A-EA34EF949FCF}" dt="2019-01-31T11:43:27.768" v="1" actId="478"/>
          <ac:spMkLst>
            <pc:docMk/>
            <pc:sldMk cId="2695539738" sldId="497"/>
            <ac:spMk id="130" creationId="{B612D970-76C1-4E13-9641-B54FBF85C4AF}"/>
          </ac:spMkLst>
        </pc:spChg>
        <pc:spChg chg="del">
          <ac:chgData name="Landi, Stéphane" userId="229941cf-5d71-437b-b6f6-728eb74f4ff6" providerId="ADAL" clId="{D770FC88-9B04-47EF-B01A-EA34EF949FCF}" dt="2019-01-31T11:43:27.768" v="1" actId="478"/>
          <ac:spMkLst>
            <pc:docMk/>
            <pc:sldMk cId="2695539738" sldId="497"/>
            <ac:spMk id="131" creationId="{8FB9143B-74D9-43CD-9A0B-716E38AB774F}"/>
          </ac:spMkLst>
        </pc:spChg>
        <pc:spChg chg="del">
          <ac:chgData name="Landi, Stéphane" userId="229941cf-5d71-437b-b6f6-728eb74f4ff6" providerId="ADAL" clId="{D770FC88-9B04-47EF-B01A-EA34EF949FCF}" dt="2019-01-31T11:43:27.768" v="1" actId="478"/>
          <ac:spMkLst>
            <pc:docMk/>
            <pc:sldMk cId="2695539738" sldId="497"/>
            <ac:spMk id="132" creationId="{C67B96E6-C485-4E6C-96BC-55EFF69C81B9}"/>
          </ac:spMkLst>
        </pc:spChg>
        <pc:spChg chg="del">
          <ac:chgData name="Landi, Stéphane" userId="229941cf-5d71-437b-b6f6-728eb74f4ff6" providerId="ADAL" clId="{D770FC88-9B04-47EF-B01A-EA34EF949FCF}" dt="2019-01-31T11:43:27.768" v="1" actId="478"/>
          <ac:spMkLst>
            <pc:docMk/>
            <pc:sldMk cId="2695539738" sldId="497"/>
            <ac:spMk id="134" creationId="{CE9F3563-8A86-4B63-BC0A-1ACDBE00323A}"/>
          </ac:spMkLst>
        </pc:spChg>
        <pc:spChg chg="del">
          <ac:chgData name="Landi, Stéphane" userId="229941cf-5d71-437b-b6f6-728eb74f4ff6" providerId="ADAL" clId="{D770FC88-9B04-47EF-B01A-EA34EF949FCF}" dt="2019-01-31T11:43:27.768" v="1" actId="478"/>
          <ac:spMkLst>
            <pc:docMk/>
            <pc:sldMk cId="2695539738" sldId="497"/>
            <ac:spMk id="135" creationId="{44A57754-5870-4E90-A183-246D370AB5EC}"/>
          </ac:spMkLst>
        </pc:spChg>
        <pc:spChg chg="del">
          <ac:chgData name="Landi, Stéphane" userId="229941cf-5d71-437b-b6f6-728eb74f4ff6" providerId="ADAL" clId="{D770FC88-9B04-47EF-B01A-EA34EF949FCF}" dt="2019-01-31T11:43:27.768" v="1" actId="478"/>
          <ac:spMkLst>
            <pc:docMk/>
            <pc:sldMk cId="2695539738" sldId="497"/>
            <ac:spMk id="136" creationId="{3A11244A-7591-400C-B0DB-AB52C717474A}"/>
          </ac:spMkLst>
        </pc:spChg>
        <pc:spChg chg="del">
          <ac:chgData name="Landi, Stéphane" userId="229941cf-5d71-437b-b6f6-728eb74f4ff6" providerId="ADAL" clId="{D770FC88-9B04-47EF-B01A-EA34EF949FCF}" dt="2019-01-31T11:43:27.768" v="1" actId="478"/>
          <ac:spMkLst>
            <pc:docMk/>
            <pc:sldMk cId="2695539738" sldId="497"/>
            <ac:spMk id="137" creationId="{293BE4A4-7534-4F97-A947-BA8D844E20C9}"/>
          </ac:spMkLst>
        </pc:spChg>
        <pc:spChg chg="del">
          <ac:chgData name="Landi, Stéphane" userId="229941cf-5d71-437b-b6f6-728eb74f4ff6" providerId="ADAL" clId="{D770FC88-9B04-47EF-B01A-EA34EF949FCF}" dt="2019-01-31T11:43:27.768" v="1" actId="478"/>
          <ac:spMkLst>
            <pc:docMk/>
            <pc:sldMk cId="2695539738" sldId="497"/>
            <ac:spMk id="138" creationId="{4B42F2DD-8CC5-49EE-94F3-25AD15460D41}"/>
          </ac:spMkLst>
        </pc:spChg>
        <pc:spChg chg="del">
          <ac:chgData name="Landi, Stéphane" userId="229941cf-5d71-437b-b6f6-728eb74f4ff6" providerId="ADAL" clId="{D770FC88-9B04-47EF-B01A-EA34EF949FCF}" dt="2019-01-31T11:43:27.768" v="1" actId="478"/>
          <ac:spMkLst>
            <pc:docMk/>
            <pc:sldMk cId="2695539738" sldId="497"/>
            <ac:spMk id="139" creationId="{146875BE-F910-4AD3-BDCD-70F4D1C7A8AF}"/>
          </ac:spMkLst>
        </pc:spChg>
        <pc:spChg chg="del">
          <ac:chgData name="Landi, Stéphane" userId="229941cf-5d71-437b-b6f6-728eb74f4ff6" providerId="ADAL" clId="{D770FC88-9B04-47EF-B01A-EA34EF949FCF}" dt="2019-01-31T11:43:27.768" v="1" actId="478"/>
          <ac:spMkLst>
            <pc:docMk/>
            <pc:sldMk cId="2695539738" sldId="497"/>
            <ac:spMk id="140" creationId="{64E0E509-A71B-43B5-A0D6-B9108A57B8C3}"/>
          </ac:spMkLst>
        </pc:spChg>
        <pc:spChg chg="del">
          <ac:chgData name="Landi, Stéphane" userId="229941cf-5d71-437b-b6f6-728eb74f4ff6" providerId="ADAL" clId="{D770FC88-9B04-47EF-B01A-EA34EF949FCF}" dt="2019-01-31T11:43:27.768" v="1" actId="478"/>
          <ac:spMkLst>
            <pc:docMk/>
            <pc:sldMk cId="2695539738" sldId="497"/>
            <ac:spMk id="141" creationId="{FA215345-0B3A-4FAE-8364-DC477E3A152A}"/>
          </ac:spMkLst>
        </pc:spChg>
        <pc:spChg chg="del">
          <ac:chgData name="Landi, Stéphane" userId="229941cf-5d71-437b-b6f6-728eb74f4ff6" providerId="ADAL" clId="{D770FC88-9B04-47EF-B01A-EA34EF949FCF}" dt="2019-01-31T11:43:27.768" v="1" actId="478"/>
          <ac:spMkLst>
            <pc:docMk/>
            <pc:sldMk cId="2695539738" sldId="497"/>
            <ac:spMk id="142" creationId="{C45BC042-1C8C-4808-BC64-AA96F2ED6605}"/>
          </ac:spMkLst>
        </pc:spChg>
        <pc:spChg chg="del">
          <ac:chgData name="Landi, Stéphane" userId="229941cf-5d71-437b-b6f6-728eb74f4ff6" providerId="ADAL" clId="{D770FC88-9B04-47EF-B01A-EA34EF949FCF}" dt="2019-01-31T11:43:27.768" v="1" actId="478"/>
          <ac:spMkLst>
            <pc:docMk/>
            <pc:sldMk cId="2695539738" sldId="497"/>
            <ac:spMk id="143" creationId="{0B80277D-DD37-489E-9494-F947405D19ED}"/>
          </ac:spMkLst>
        </pc:spChg>
        <pc:spChg chg="del">
          <ac:chgData name="Landi, Stéphane" userId="229941cf-5d71-437b-b6f6-728eb74f4ff6" providerId="ADAL" clId="{D770FC88-9B04-47EF-B01A-EA34EF949FCF}" dt="2019-01-31T11:43:27.768" v="1" actId="478"/>
          <ac:spMkLst>
            <pc:docMk/>
            <pc:sldMk cId="2695539738" sldId="497"/>
            <ac:spMk id="144" creationId="{1D0B9F06-0BF8-4BFA-93A5-49C20CE83C8C}"/>
          </ac:spMkLst>
        </pc:spChg>
        <pc:spChg chg="del">
          <ac:chgData name="Landi, Stéphane" userId="229941cf-5d71-437b-b6f6-728eb74f4ff6" providerId="ADAL" clId="{D770FC88-9B04-47EF-B01A-EA34EF949FCF}" dt="2019-01-31T11:43:27.768" v="1" actId="478"/>
          <ac:spMkLst>
            <pc:docMk/>
            <pc:sldMk cId="2695539738" sldId="497"/>
            <ac:spMk id="145" creationId="{50D5DFA9-7602-442B-BB98-4803ACA8345B}"/>
          </ac:spMkLst>
        </pc:spChg>
        <pc:spChg chg="del">
          <ac:chgData name="Landi, Stéphane" userId="229941cf-5d71-437b-b6f6-728eb74f4ff6" providerId="ADAL" clId="{D770FC88-9B04-47EF-B01A-EA34EF949FCF}" dt="2019-01-31T11:43:27.768" v="1" actId="478"/>
          <ac:spMkLst>
            <pc:docMk/>
            <pc:sldMk cId="2695539738" sldId="497"/>
            <ac:spMk id="146" creationId="{747A039D-3DD9-4A5B-854F-8E34F8DF3903}"/>
          </ac:spMkLst>
        </pc:spChg>
        <pc:spChg chg="del">
          <ac:chgData name="Landi, Stéphane" userId="229941cf-5d71-437b-b6f6-728eb74f4ff6" providerId="ADAL" clId="{D770FC88-9B04-47EF-B01A-EA34EF949FCF}" dt="2019-01-31T11:43:27.768" v="1" actId="478"/>
          <ac:spMkLst>
            <pc:docMk/>
            <pc:sldMk cId="2695539738" sldId="497"/>
            <ac:spMk id="147" creationId="{B2D812B1-0BAF-4D8B-A6F5-57248E45D5D4}"/>
          </ac:spMkLst>
        </pc:spChg>
        <pc:spChg chg="del">
          <ac:chgData name="Landi, Stéphane" userId="229941cf-5d71-437b-b6f6-728eb74f4ff6" providerId="ADAL" clId="{D770FC88-9B04-47EF-B01A-EA34EF949FCF}" dt="2019-01-31T11:43:27.768" v="1" actId="478"/>
          <ac:spMkLst>
            <pc:docMk/>
            <pc:sldMk cId="2695539738" sldId="497"/>
            <ac:spMk id="148" creationId="{85B14791-3262-4DC3-95F0-F2D99E9728F4}"/>
          </ac:spMkLst>
        </pc:spChg>
        <pc:spChg chg="del">
          <ac:chgData name="Landi, Stéphane" userId="229941cf-5d71-437b-b6f6-728eb74f4ff6" providerId="ADAL" clId="{D770FC88-9B04-47EF-B01A-EA34EF949FCF}" dt="2019-01-31T11:43:27.768" v="1" actId="478"/>
          <ac:spMkLst>
            <pc:docMk/>
            <pc:sldMk cId="2695539738" sldId="497"/>
            <ac:spMk id="149" creationId="{3A7D4B7D-15A5-4C0C-8CC5-7A39BD32F2E7}"/>
          </ac:spMkLst>
        </pc:spChg>
        <pc:spChg chg="del">
          <ac:chgData name="Landi, Stéphane" userId="229941cf-5d71-437b-b6f6-728eb74f4ff6" providerId="ADAL" clId="{D770FC88-9B04-47EF-B01A-EA34EF949FCF}" dt="2019-01-31T11:43:27.768" v="1" actId="478"/>
          <ac:spMkLst>
            <pc:docMk/>
            <pc:sldMk cId="2695539738" sldId="497"/>
            <ac:spMk id="150" creationId="{4710B72F-E74B-4E45-9DB4-B587F589306E}"/>
          </ac:spMkLst>
        </pc:spChg>
        <pc:spChg chg="del">
          <ac:chgData name="Landi, Stéphane" userId="229941cf-5d71-437b-b6f6-728eb74f4ff6" providerId="ADAL" clId="{D770FC88-9B04-47EF-B01A-EA34EF949FCF}" dt="2019-01-31T11:43:27.768" v="1" actId="478"/>
          <ac:spMkLst>
            <pc:docMk/>
            <pc:sldMk cId="2695539738" sldId="497"/>
            <ac:spMk id="151" creationId="{CF2340D9-828E-4627-9235-874482C041DC}"/>
          </ac:spMkLst>
        </pc:spChg>
        <pc:spChg chg="del">
          <ac:chgData name="Landi, Stéphane" userId="229941cf-5d71-437b-b6f6-728eb74f4ff6" providerId="ADAL" clId="{D770FC88-9B04-47EF-B01A-EA34EF949FCF}" dt="2019-01-31T11:43:27.768" v="1" actId="478"/>
          <ac:spMkLst>
            <pc:docMk/>
            <pc:sldMk cId="2695539738" sldId="497"/>
            <ac:spMk id="152" creationId="{3EEF93CF-EC26-42CB-8815-59543661CDF5}"/>
          </ac:spMkLst>
        </pc:spChg>
        <pc:spChg chg="del">
          <ac:chgData name="Landi, Stéphane" userId="229941cf-5d71-437b-b6f6-728eb74f4ff6" providerId="ADAL" clId="{D770FC88-9B04-47EF-B01A-EA34EF949FCF}" dt="2019-01-31T11:43:27.768" v="1" actId="478"/>
          <ac:spMkLst>
            <pc:docMk/>
            <pc:sldMk cId="2695539738" sldId="497"/>
            <ac:spMk id="153" creationId="{0C4197CE-0957-47E8-9C41-CA3651C1E321}"/>
          </ac:spMkLst>
        </pc:spChg>
        <pc:spChg chg="del">
          <ac:chgData name="Landi, Stéphane" userId="229941cf-5d71-437b-b6f6-728eb74f4ff6" providerId="ADAL" clId="{D770FC88-9B04-47EF-B01A-EA34EF949FCF}" dt="2019-01-31T11:43:27.768" v="1" actId="478"/>
          <ac:spMkLst>
            <pc:docMk/>
            <pc:sldMk cId="2695539738" sldId="497"/>
            <ac:spMk id="154" creationId="{16358D0D-E23A-42EA-BE4B-61A4DCB6537D}"/>
          </ac:spMkLst>
        </pc:spChg>
        <pc:spChg chg="del">
          <ac:chgData name="Landi, Stéphane" userId="229941cf-5d71-437b-b6f6-728eb74f4ff6" providerId="ADAL" clId="{D770FC88-9B04-47EF-B01A-EA34EF949FCF}" dt="2019-01-31T11:43:27.768" v="1" actId="478"/>
          <ac:spMkLst>
            <pc:docMk/>
            <pc:sldMk cId="2695539738" sldId="497"/>
            <ac:spMk id="155" creationId="{84123AC7-8769-4D2F-B0C6-9C4D71EB947F}"/>
          </ac:spMkLst>
        </pc:spChg>
        <pc:spChg chg="add">
          <ac:chgData name="Landi, Stéphane" userId="229941cf-5d71-437b-b6f6-728eb74f4ff6" providerId="ADAL" clId="{D770FC88-9B04-47EF-B01A-EA34EF949FCF}" dt="2019-01-31T11:43:44.763" v="6"/>
          <ac:spMkLst>
            <pc:docMk/>
            <pc:sldMk cId="2695539738" sldId="497"/>
            <ac:spMk id="156" creationId="{968A3A37-34A5-44FA-A510-AD1378B29369}"/>
          </ac:spMkLst>
        </pc:spChg>
        <pc:spChg chg="add">
          <ac:chgData name="Landi, Stéphane" userId="229941cf-5d71-437b-b6f6-728eb74f4ff6" providerId="ADAL" clId="{D770FC88-9B04-47EF-B01A-EA34EF949FCF}" dt="2019-01-31T11:43:44.763" v="6"/>
          <ac:spMkLst>
            <pc:docMk/>
            <pc:sldMk cId="2695539738" sldId="497"/>
            <ac:spMk id="157" creationId="{0F704683-6643-4E97-A82B-2AF761D5E673}"/>
          </ac:spMkLst>
        </pc:spChg>
        <pc:spChg chg="add">
          <ac:chgData name="Landi, Stéphane" userId="229941cf-5d71-437b-b6f6-728eb74f4ff6" providerId="ADAL" clId="{D770FC88-9B04-47EF-B01A-EA34EF949FCF}" dt="2019-01-31T11:43:44.763" v="6"/>
          <ac:spMkLst>
            <pc:docMk/>
            <pc:sldMk cId="2695539738" sldId="497"/>
            <ac:spMk id="158" creationId="{09C97069-CDF0-47EE-9BD6-4502287AC54D}"/>
          </ac:spMkLst>
        </pc:spChg>
        <pc:spChg chg="add">
          <ac:chgData name="Landi, Stéphane" userId="229941cf-5d71-437b-b6f6-728eb74f4ff6" providerId="ADAL" clId="{D770FC88-9B04-47EF-B01A-EA34EF949FCF}" dt="2019-01-31T11:43:44.763" v="6"/>
          <ac:spMkLst>
            <pc:docMk/>
            <pc:sldMk cId="2695539738" sldId="497"/>
            <ac:spMk id="159" creationId="{6059AE4D-0946-4037-9B47-FCD4D4030EBD}"/>
          </ac:spMkLst>
        </pc:spChg>
        <pc:spChg chg="add">
          <ac:chgData name="Landi, Stéphane" userId="229941cf-5d71-437b-b6f6-728eb74f4ff6" providerId="ADAL" clId="{D770FC88-9B04-47EF-B01A-EA34EF949FCF}" dt="2019-01-31T11:43:44.763" v="6"/>
          <ac:spMkLst>
            <pc:docMk/>
            <pc:sldMk cId="2695539738" sldId="497"/>
            <ac:spMk id="160" creationId="{B193C5FA-FA18-401F-9886-F9AB7FA1CB70}"/>
          </ac:spMkLst>
        </pc:spChg>
        <pc:spChg chg="add">
          <ac:chgData name="Landi, Stéphane" userId="229941cf-5d71-437b-b6f6-728eb74f4ff6" providerId="ADAL" clId="{D770FC88-9B04-47EF-B01A-EA34EF949FCF}" dt="2019-01-31T11:43:44.763" v="6"/>
          <ac:spMkLst>
            <pc:docMk/>
            <pc:sldMk cId="2695539738" sldId="497"/>
            <ac:spMk id="161" creationId="{72CF31C7-BBE2-4751-8BF8-D9328E36E97E}"/>
          </ac:spMkLst>
        </pc:spChg>
        <pc:spChg chg="add">
          <ac:chgData name="Landi, Stéphane" userId="229941cf-5d71-437b-b6f6-728eb74f4ff6" providerId="ADAL" clId="{D770FC88-9B04-47EF-B01A-EA34EF949FCF}" dt="2019-01-31T11:43:44.763" v="6"/>
          <ac:spMkLst>
            <pc:docMk/>
            <pc:sldMk cId="2695539738" sldId="497"/>
            <ac:spMk id="162" creationId="{7043CCB7-7D01-4658-B62E-D8C6B6E62ED4}"/>
          </ac:spMkLst>
        </pc:spChg>
        <pc:spChg chg="add">
          <ac:chgData name="Landi, Stéphane" userId="229941cf-5d71-437b-b6f6-728eb74f4ff6" providerId="ADAL" clId="{D770FC88-9B04-47EF-B01A-EA34EF949FCF}" dt="2019-01-31T11:43:44.763" v="6"/>
          <ac:spMkLst>
            <pc:docMk/>
            <pc:sldMk cId="2695539738" sldId="497"/>
            <ac:spMk id="163" creationId="{2CB67722-3CEC-4AED-AB8C-FB1859DFAD2A}"/>
          </ac:spMkLst>
        </pc:spChg>
        <pc:spChg chg="add">
          <ac:chgData name="Landi, Stéphane" userId="229941cf-5d71-437b-b6f6-728eb74f4ff6" providerId="ADAL" clId="{D770FC88-9B04-47EF-B01A-EA34EF949FCF}" dt="2019-01-31T11:43:44.763" v="6"/>
          <ac:spMkLst>
            <pc:docMk/>
            <pc:sldMk cId="2695539738" sldId="497"/>
            <ac:spMk id="164" creationId="{099C9AE6-6E2B-43DD-9BB6-DA42A3EDB736}"/>
          </ac:spMkLst>
        </pc:spChg>
        <pc:spChg chg="add">
          <ac:chgData name="Landi, Stéphane" userId="229941cf-5d71-437b-b6f6-728eb74f4ff6" providerId="ADAL" clId="{D770FC88-9B04-47EF-B01A-EA34EF949FCF}" dt="2019-01-31T11:43:44.763" v="6"/>
          <ac:spMkLst>
            <pc:docMk/>
            <pc:sldMk cId="2695539738" sldId="497"/>
            <ac:spMk id="165" creationId="{5CBF8D34-7CBB-467F-8EF4-E40CF1B50104}"/>
          </ac:spMkLst>
        </pc:spChg>
        <pc:spChg chg="add">
          <ac:chgData name="Landi, Stéphane" userId="229941cf-5d71-437b-b6f6-728eb74f4ff6" providerId="ADAL" clId="{D770FC88-9B04-47EF-B01A-EA34EF949FCF}" dt="2019-01-31T11:43:44.763" v="6"/>
          <ac:spMkLst>
            <pc:docMk/>
            <pc:sldMk cId="2695539738" sldId="497"/>
            <ac:spMk id="166" creationId="{6F062081-3E0A-4ABE-8AD4-98221E5B742C}"/>
          </ac:spMkLst>
        </pc:spChg>
        <pc:spChg chg="add">
          <ac:chgData name="Landi, Stéphane" userId="229941cf-5d71-437b-b6f6-728eb74f4ff6" providerId="ADAL" clId="{D770FC88-9B04-47EF-B01A-EA34EF949FCF}" dt="2019-01-31T11:43:44.763" v="6"/>
          <ac:spMkLst>
            <pc:docMk/>
            <pc:sldMk cId="2695539738" sldId="497"/>
            <ac:spMk id="167" creationId="{FD9C8C8F-EAD6-4CE2-B983-2D0B1A8ED23F}"/>
          </ac:spMkLst>
        </pc:spChg>
        <pc:spChg chg="add">
          <ac:chgData name="Landi, Stéphane" userId="229941cf-5d71-437b-b6f6-728eb74f4ff6" providerId="ADAL" clId="{D770FC88-9B04-47EF-B01A-EA34EF949FCF}" dt="2019-01-31T11:43:44.763" v="6"/>
          <ac:spMkLst>
            <pc:docMk/>
            <pc:sldMk cId="2695539738" sldId="497"/>
            <ac:spMk id="168" creationId="{7321DBDC-EFCD-41D7-B220-5B04F12B04A0}"/>
          </ac:spMkLst>
        </pc:spChg>
        <pc:spChg chg="add">
          <ac:chgData name="Landi, Stéphane" userId="229941cf-5d71-437b-b6f6-728eb74f4ff6" providerId="ADAL" clId="{D770FC88-9B04-47EF-B01A-EA34EF949FCF}" dt="2019-01-31T11:43:44.763" v="6"/>
          <ac:spMkLst>
            <pc:docMk/>
            <pc:sldMk cId="2695539738" sldId="497"/>
            <ac:spMk id="169" creationId="{4E00F45E-DD02-418E-8E8F-5198D6EC7F45}"/>
          </ac:spMkLst>
        </pc:spChg>
        <pc:spChg chg="add">
          <ac:chgData name="Landi, Stéphane" userId="229941cf-5d71-437b-b6f6-728eb74f4ff6" providerId="ADAL" clId="{D770FC88-9B04-47EF-B01A-EA34EF949FCF}" dt="2019-01-31T11:43:44.763" v="6"/>
          <ac:spMkLst>
            <pc:docMk/>
            <pc:sldMk cId="2695539738" sldId="497"/>
            <ac:spMk id="170" creationId="{2B4C3491-44F1-4F23-9ED6-327BD3C2E404}"/>
          </ac:spMkLst>
        </pc:spChg>
        <pc:spChg chg="add">
          <ac:chgData name="Landi, Stéphane" userId="229941cf-5d71-437b-b6f6-728eb74f4ff6" providerId="ADAL" clId="{D770FC88-9B04-47EF-B01A-EA34EF949FCF}" dt="2019-01-31T11:43:44.763" v="6"/>
          <ac:spMkLst>
            <pc:docMk/>
            <pc:sldMk cId="2695539738" sldId="497"/>
            <ac:spMk id="171" creationId="{3DA8B02C-59E1-4A2D-AB58-B4EE407489E3}"/>
          </ac:spMkLst>
        </pc:spChg>
        <pc:spChg chg="add">
          <ac:chgData name="Landi, Stéphane" userId="229941cf-5d71-437b-b6f6-728eb74f4ff6" providerId="ADAL" clId="{D770FC88-9B04-47EF-B01A-EA34EF949FCF}" dt="2019-01-31T11:43:44.763" v="6"/>
          <ac:spMkLst>
            <pc:docMk/>
            <pc:sldMk cId="2695539738" sldId="497"/>
            <ac:spMk id="172" creationId="{951E0A41-8FD5-48F3-9492-3FF5DDF59193}"/>
          </ac:spMkLst>
        </pc:spChg>
        <pc:spChg chg="add">
          <ac:chgData name="Landi, Stéphane" userId="229941cf-5d71-437b-b6f6-728eb74f4ff6" providerId="ADAL" clId="{D770FC88-9B04-47EF-B01A-EA34EF949FCF}" dt="2019-01-31T11:43:44.763" v="6"/>
          <ac:spMkLst>
            <pc:docMk/>
            <pc:sldMk cId="2695539738" sldId="497"/>
            <ac:spMk id="173" creationId="{346FFBCC-EB75-49EF-8983-0E833B2D5B41}"/>
          </ac:spMkLst>
        </pc:spChg>
        <pc:spChg chg="add">
          <ac:chgData name="Landi, Stéphane" userId="229941cf-5d71-437b-b6f6-728eb74f4ff6" providerId="ADAL" clId="{D770FC88-9B04-47EF-B01A-EA34EF949FCF}" dt="2019-01-31T11:43:44.763" v="6"/>
          <ac:spMkLst>
            <pc:docMk/>
            <pc:sldMk cId="2695539738" sldId="497"/>
            <ac:spMk id="174" creationId="{BE2BF434-C351-42CA-862A-AAC7912DA4EB}"/>
          </ac:spMkLst>
        </pc:spChg>
        <pc:spChg chg="add">
          <ac:chgData name="Landi, Stéphane" userId="229941cf-5d71-437b-b6f6-728eb74f4ff6" providerId="ADAL" clId="{D770FC88-9B04-47EF-B01A-EA34EF949FCF}" dt="2019-01-31T11:43:44.763" v="6"/>
          <ac:spMkLst>
            <pc:docMk/>
            <pc:sldMk cId="2695539738" sldId="497"/>
            <ac:spMk id="175" creationId="{4C639377-7EEF-49B1-834B-4CA03FA3C10A}"/>
          </ac:spMkLst>
        </pc:spChg>
        <pc:spChg chg="add">
          <ac:chgData name="Landi, Stéphane" userId="229941cf-5d71-437b-b6f6-728eb74f4ff6" providerId="ADAL" clId="{D770FC88-9B04-47EF-B01A-EA34EF949FCF}" dt="2019-01-31T11:43:44.763" v="6"/>
          <ac:spMkLst>
            <pc:docMk/>
            <pc:sldMk cId="2695539738" sldId="497"/>
            <ac:spMk id="176" creationId="{2B0941DE-AFF3-4A23-9D34-A4C6C7ECF399}"/>
          </ac:spMkLst>
        </pc:spChg>
        <pc:spChg chg="add">
          <ac:chgData name="Landi, Stéphane" userId="229941cf-5d71-437b-b6f6-728eb74f4ff6" providerId="ADAL" clId="{D770FC88-9B04-47EF-B01A-EA34EF949FCF}" dt="2019-01-31T11:43:44.763" v="6"/>
          <ac:spMkLst>
            <pc:docMk/>
            <pc:sldMk cId="2695539738" sldId="497"/>
            <ac:spMk id="177" creationId="{2B3C0862-418E-4953-B776-7878A0CF3DCD}"/>
          </ac:spMkLst>
        </pc:spChg>
        <pc:spChg chg="add">
          <ac:chgData name="Landi, Stéphane" userId="229941cf-5d71-437b-b6f6-728eb74f4ff6" providerId="ADAL" clId="{D770FC88-9B04-47EF-B01A-EA34EF949FCF}" dt="2019-01-31T11:43:44.763" v="6"/>
          <ac:spMkLst>
            <pc:docMk/>
            <pc:sldMk cId="2695539738" sldId="497"/>
            <ac:spMk id="178" creationId="{01697D66-3BC5-4607-9674-47D20EA3DA64}"/>
          </ac:spMkLst>
        </pc:spChg>
        <pc:spChg chg="add">
          <ac:chgData name="Landi, Stéphane" userId="229941cf-5d71-437b-b6f6-728eb74f4ff6" providerId="ADAL" clId="{D770FC88-9B04-47EF-B01A-EA34EF949FCF}" dt="2019-01-31T11:43:44.763" v="6"/>
          <ac:spMkLst>
            <pc:docMk/>
            <pc:sldMk cId="2695539738" sldId="497"/>
            <ac:spMk id="179" creationId="{1282BA58-0973-4353-B419-A971E968BA2C}"/>
          </ac:spMkLst>
        </pc:spChg>
        <pc:spChg chg="add">
          <ac:chgData name="Landi, Stéphane" userId="229941cf-5d71-437b-b6f6-728eb74f4ff6" providerId="ADAL" clId="{D770FC88-9B04-47EF-B01A-EA34EF949FCF}" dt="2019-01-31T11:43:44.763" v="6"/>
          <ac:spMkLst>
            <pc:docMk/>
            <pc:sldMk cId="2695539738" sldId="497"/>
            <ac:spMk id="180" creationId="{C176AD62-22AC-4C7D-A64F-FE2F31835935}"/>
          </ac:spMkLst>
        </pc:spChg>
        <pc:spChg chg="add">
          <ac:chgData name="Landi, Stéphane" userId="229941cf-5d71-437b-b6f6-728eb74f4ff6" providerId="ADAL" clId="{D770FC88-9B04-47EF-B01A-EA34EF949FCF}" dt="2019-01-31T11:43:44.763" v="6"/>
          <ac:spMkLst>
            <pc:docMk/>
            <pc:sldMk cId="2695539738" sldId="497"/>
            <ac:spMk id="181" creationId="{53799778-D7E6-4E0F-9E47-C9ADFA1F4C67}"/>
          </ac:spMkLst>
        </pc:spChg>
        <pc:spChg chg="add">
          <ac:chgData name="Landi, Stéphane" userId="229941cf-5d71-437b-b6f6-728eb74f4ff6" providerId="ADAL" clId="{D770FC88-9B04-47EF-B01A-EA34EF949FCF}" dt="2019-01-31T11:43:44.763" v="6"/>
          <ac:spMkLst>
            <pc:docMk/>
            <pc:sldMk cId="2695539738" sldId="497"/>
            <ac:spMk id="182" creationId="{EE508AE7-734A-4C18-82A3-BD8B5B46B432}"/>
          </ac:spMkLst>
        </pc:spChg>
        <pc:spChg chg="add">
          <ac:chgData name="Landi, Stéphane" userId="229941cf-5d71-437b-b6f6-728eb74f4ff6" providerId="ADAL" clId="{D770FC88-9B04-47EF-B01A-EA34EF949FCF}" dt="2019-01-31T11:43:44.763" v="6"/>
          <ac:spMkLst>
            <pc:docMk/>
            <pc:sldMk cId="2695539738" sldId="497"/>
            <ac:spMk id="183" creationId="{6392FBEB-F28F-4460-850A-A989B096CC2A}"/>
          </ac:spMkLst>
        </pc:spChg>
        <pc:spChg chg="add">
          <ac:chgData name="Landi, Stéphane" userId="229941cf-5d71-437b-b6f6-728eb74f4ff6" providerId="ADAL" clId="{D770FC88-9B04-47EF-B01A-EA34EF949FCF}" dt="2019-01-31T11:43:44.763" v="6"/>
          <ac:spMkLst>
            <pc:docMk/>
            <pc:sldMk cId="2695539738" sldId="497"/>
            <ac:spMk id="184" creationId="{A73BE6C5-31A1-4196-ADAC-5AD815A03059}"/>
          </ac:spMkLst>
        </pc:spChg>
        <pc:spChg chg="add">
          <ac:chgData name="Landi, Stéphane" userId="229941cf-5d71-437b-b6f6-728eb74f4ff6" providerId="ADAL" clId="{D770FC88-9B04-47EF-B01A-EA34EF949FCF}" dt="2019-01-31T11:43:44.763" v="6"/>
          <ac:spMkLst>
            <pc:docMk/>
            <pc:sldMk cId="2695539738" sldId="497"/>
            <ac:spMk id="185" creationId="{798EE8C7-F6FE-4579-AE62-E837B9ACEA3E}"/>
          </ac:spMkLst>
        </pc:spChg>
        <pc:spChg chg="add">
          <ac:chgData name="Landi, Stéphane" userId="229941cf-5d71-437b-b6f6-728eb74f4ff6" providerId="ADAL" clId="{D770FC88-9B04-47EF-B01A-EA34EF949FCF}" dt="2019-01-31T11:43:44.763" v="6"/>
          <ac:spMkLst>
            <pc:docMk/>
            <pc:sldMk cId="2695539738" sldId="497"/>
            <ac:spMk id="186" creationId="{ED96CFFB-04FF-4193-A99C-735C1C3BDC48}"/>
          </ac:spMkLst>
        </pc:spChg>
        <pc:spChg chg="add">
          <ac:chgData name="Landi, Stéphane" userId="229941cf-5d71-437b-b6f6-728eb74f4ff6" providerId="ADAL" clId="{D770FC88-9B04-47EF-B01A-EA34EF949FCF}" dt="2019-01-31T11:43:44.763" v="6"/>
          <ac:spMkLst>
            <pc:docMk/>
            <pc:sldMk cId="2695539738" sldId="497"/>
            <ac:spMk id="187" creationId="{DD5BB9EC-D114-4600-A4FD-B1F234C44C9E}"/>
          </ac:spMkLst>
        </pc:spChg>
        <pc:spChg chg="add">
          <ac:chgData name="Landi, Stéphane" userId="229941cf-5d71-437b-b6f6-728eb74f4ff6" providerId="ADAL" clId="{D770FC88-9B04-47EF-B01A-EA34EF949FCF}" dt="2019-01-31T11:43:44.763" v="6"/>
          <ac:spMkLst>
            <pc:docMk/>
            <pc:sldMk cId="2695539738" sldId="497"/>
            <ac:spMk id="188" creationId="{A6588A2C-8309-47A6-889A-96F60C50880C}"/>
          </ac:spMkLst>
        </pc:spChg>
        <pc:spChg chg="add">
          <ac:chgData name="Landi, Stéphane" userId="229941cf-5d71-437b-b6f6-728eb74f4ff6" providerId="ADAL" clId="{D770FC88-9B04-47EF-B01A-EA34EF949FCF}" dt="2019-01-31T11:43:44.763" v="6"/>
          <ac:spMkLst>
            <pc:docMk/>
            <pc:sldMk cId="2695539738" sldId="497"/>
            <ac:spMk id="189" creationId="{394D6477-69F1-4C8A-A669-EE7EE5E0B853}"/>
          </ac:spMkLst>
        </pc:spChg>
        <pc:spChg chg="add">
          <ac:chgData name="Landi, Stéphane" userId="229941cf-5d71-437b-b6f6-728eb74f4ff6" providerId="ADAL" clId="{D770FC88-9B04-47EF-B01A-EA34EF949FCF}" dt="2019-01-31T11:43:44.763" v="6"/>
          <ac:spMkLst>
            <pc:docMk/>
            <pc:sldMk cId="2695539738" sldId="497"/>
            <ac:spMk id="190" creationId="{15092E2C-E874-4642-8E87-15D13B9073A2}"/>
          </ac:spMkLst>
        </pc:spChg>
        <pc:spChg chg="add">
          <ac:chgData name="Landi, Stéphane" userId="229941cf-5d71-437b-b6f6-728eb74f4ff6" providerId="ADAL" clId="{D770FC88-9B04-47EF-B01A-EA34EF949FCF}" dt="2019-01-31T11:43:44.763" v="6"/>
          <ac:spMkLst>
            <pc:docMk/>
            <pc:sldMk cId="2695539738" sldId="497"/>
            <ac:spMk id="191" creationId="{B4ACFF38-778D-4817-89AE-518F8049713F}"/>
          </ac:spMkLst>
        </pc:spChg>
        <pc:spChg chg="add">
          <ac:chgData name="Landi, Stéphane" userId="229941cf-5d71-437b-b6f6-728eb74f4ff6" providerId="ADAL" clId="{D770FC88-9B04-47EF-B01A-EA34EF949FCF}" dt="2019-01-31T11:43:44.763" v="6"/>
          <ac:spMkLst>
            <pc:docMk/>
            <pc:sldMk cId="2695539738" sldId="497"/>
            <ac:spMk id="192" creationId="{2B1E02E5-F260-4B0C-924C-056CF4CA1C9F}"/>
          </ac:spMkLst>
        </pc:spChg>
        <pc:spChg chg="add">
          <ac:chgData name="Landi, Stéphane" userId="229941cf-5d71-437b-b6f6-728eb74f4ff6" providerId="ADAL" clId="{D770FC88-9B04-47EF-B01A-EA34EF949FCF}" dt="2019-01-31T11:43:44.763" v="6"/>
          <ac:spMkLst>
            <pc:docMk/>
            <pc:sldMk cId="2695539738" sldId="497"/>
            <ac:spMk id="193" creationId="{23EE91D1-E88B-4DF6-85CE-6E2924B452BC}"/>
          </ac:spMkLst>
        </pc:spChg>
        <pc:spChg chg="add">
          <ac:chgData name="Landi, Stéphane" userId="229941cf-5d71-437b-b6f6-728eb74f4ff6" providerId="ADAL" clId="{D770FC88-9B04-47EF-B01A-EA34EF949FCF}" dt="2019-01-31T11:43:44.763" v="6"/>
          <ac:spMkLst>
            <pc:docMk/>
            <pc:sldMk cId="2695539738" sldId="497"/>
            <ac:spMk id="194" creationId="{42C7495F-19D7-4340-8E57-D9EB17D3C128}"/>
          </ac:spMkLst>
        </pc:spChg>
        <pc:spChg chg="add">
          <ac:chgData name="Landi, Stéphane" userId="229941cf-5d71-437b-b6f6-728eb74f4ff6" providerId="ADAL" clId="{D770FC88-9B04-47EF-B01A-EA34EF949FCF}" dt="2019-01-31T11:43:44.763" v="6"/>
          <ac:spMkLst>
            <pc:docMk/>
            <pc:sldMk cId="2695539738" sldId="497"/>
            <ac:spMk id="195" creationId="{408FB494-6DBA-42A6-BC70-E154AEB9AC8F}"/>
          </ac:spMkLst>
        </pc:spChg>
        <pc:spChg chg="add">
          <ac:chgData name="Landi, Stéphane" userId="229941cf-5d71-437b-b6f6-728eb74f4ff6" providerId="ADAL" clId="{D770FC88-9B04-47EF-B01A-EA34EF949FCF}" dt="2019-01-31T11:43:44.763" v="6"/>
          <ac:spMkLst>
            <pc:docMk/>
            <pc:sldMk cId="2695539738" sldId="497"/>
            <ac:spMk id="196" creationId="{63597DB1-4637-43CA-9578-BEABF8A24A44}"/>
          </ac:spMkLst>
        </pc:spChg>
        <pc:spChg chg="add">
          <ac:chgData name="Landi, Stéphane" userId="229941cf-5d71-437b-b6f6-728eb74f4ff6" providerId="ADAL" clId="{D770FC88-9B04-47EF-B01A-EA34EF949FCF}" dt="2019-01-31T11:43:44.763" v="6"/>
          <ac:spMkLst>
            <pc:docMk/>
            <pc:sldMk cId="2695539738" sldId="497"/>
            <ac:spMk id="197" creationId="{128D4475-68E2-4F71-AE1E-36CB4E04BA7F}"/>
          </ac:spMkLst>
        </pc:spChg>
        <pc:spChg chg="add">
          <ac:chgData name="Landi, Stéphane" userId="229941cf-5d71-437b-b6f6-728eb74f4ff6" providerId="ADAL" clId="{D770FC88-9B04-47EF-B01A-EA34EF949FCF}" dt="2019-01-31T11:43:44.763" v="6"/>
          <ac:spMkLst>
            <pc:docMk/>
            <pc:sldMk cId="2695539738" sldId="497"/>
            <ac:spMk id="199" creationId="{B682ACE5-88BB-4191-BFD6-9C59B66715C5}"/>
          </ac:spMkLst>
        </pc:spChg>
        <pc:spChg chg="add">
          <ac:chgData name="Landi, Stéphane" userId="229941cf-5d71-437b-b6f6-728eb74f4ff6" providerId="ADAL" clId="{D770FC88-9B04-47EF-B01A-EA34EF949FCF}" dt="2019-01-31T11:43:44.763" v="6"/>
          <ac:spMkLst>
            <pc:docMk/>
            <pc:sldMk cId="2695539738" sldId="497"/>
            <ac:spMk id="200" creationId="{AA0E068B-F606-41EB-AD4B-8E99C7312992}"/>
          </ac:spMkLst>
        </pc:spChg>
        <pc:graphicFrameChg chg="add del">
          <ac:chgData name="Landi, Stéphane" userId="229941cf-5d71-437b-b6f6-728eb74f4ff6" providerId="ADAL" clId="{D770FC88-9B04-47EF-B01A-EA34EF949FCF}" dt="2019-01-31T11:43:44.722" v="5"/>
          <ac:graphicFrameMkLst>
            <pc:docMk/>
            <pc:sldMk cId="2695539738" sldId="497"/>
            <ac:graphicFrameMk id="50" creationId="{DAC8CD60-B1E3-4C1C-8F90-7ECEE7682C5C}"/>
          </ac:graphicFrameMkLst>
        </pc:graphicFrameChg>
        <pc:graphicFrameChg chg="del">
          <ac:chgData name="Landi, Stéphane" userId="229941cf-5d71-437b-b6f6-728eb74f4ff6" providerId="ADAL" clId="{D770FC88-9B04-47EF-B01A-EA34EF949FCF}" dt="2019-01-31T11:43:27.768" v="1" actId="478"/>
          <ac:graphicFrameMkLst>
            <pc:docMk/>
            <pc:sldMk cId="2695539738" sldId="497"/>
            <ac:graphicFrameMk id="57" creationId="{EAC723F0-6A20-4A9F-ADC5-F4B44B55B0DD}"/>
          </ac:graphicFrameMkLst>
        </pc:graphicFrameChg>
        <pc:graphicFrameChg chg="add">
          <ac:chgData name="Landi, Stéphane" userId="229941cf-5d71-437b-b6f6-728eb74f4ff6" providerId="ADAL" clId="{D770FC88-9B04-47EF-B01A-EA34EF949FCF}" dt="2019-01-31T11:43:44.763" v="6"/>
          <ac:graphicFrameMkLst>
            <pc:docMk/>
            <pc:sldMk cId="2695539738" sldId="497"/>
            <ac:graphicFrameMk id="108" creationId="{A3BC4C21-4C91-44C6-8BC6-8A3834A624EA}"/>
          </ac:graphicFrameMkLst>
        </pc:graphicFrameChg>
        <pc:cxnChg chg="add del">
          <ac:chgData name="Landi, Stéphane" userId="229941cf-5d71-437b-b6f6-728eb74f4ff6" providerId="ADAL" clId="{D770FC88-9B04-47EF-B01A-EA34EF949FCF}" dt="2019-01-31T11:43:44.722" v="5"/>
          <ac:cxnSpMkLst>
            <pc:docMk/>
            <pc:sldMk cId="2695539738" sldId="497"/>
            <ac:cxnSpMk id="105" creationId="{FE3AA480-5DB7-4566-83DC-DB6294ACF55D}"/>
          </ac:cxnSpMkLst>
        </pc:cxnChg>
        <pc:cxnChg chg="del">
          <ac:chgData name="Landi, Stéphane" userId="229941cf-5d71-437b-b6f6-728eb74f4ff6" providerId="ADAL" clId="{D770FC88-9B04-47EF-B01A-EA34EF949FCF}" dt="2019-01-31T11:43:32.237" v="3" actId="478"/>
          <ac:cxnSpMkLst>
            <pc:docMk/>
            <pc:sldMk cId="2695539738" sldId="497"/>
            <ac:cxnSpMk id="133" creationId="{21D2B61E-67B8-4D79-9008-D36197398489}"/>
          </ac:cxnSpMkLst>
        </pc:cxnChg>
        <pc:cxnChg chg="add mod">
          <ac:chgData name="Landi, Stéphane" userId="229941cf-5d71-437b-b6f6-728eb74f4ff6" providerId="ADAL" clId="{D770FC88-9B04-47EF-B01A-EA34EF949FCF}" dt="2019-01-31T11:43:56.570" v="27" actId="1038"/>
          <ac:cxnSpMkLst>
            <pc:docMk/>
            <pc:sldMk cId="2695539738" sldId="497"/>
            <ac:cxnSpMk id="198" creationId="{0FF0D330-AECE-4333-975A-605875061292}"/>
          </ac:cxnSpMkLst>
        </pc:cxnChg>
      </pc:sldChg>
      <pc:sldChg chg="addSp delSp">
        <pc:chgData name="Landi, Stéphane" userId="229941cf-5d71-437b-b6f6-728eb74f4ff6" providerId="ADAL" clId="{D770FC88-9B04-47EF-B01A-EA34EF949FCF}" dt="2019-01-31T11:49:27.352" v="30" actId="478"/>
        <pc:sldMkLst>
          <pc:docMk/>
          <pc:sldMk cId="1773304883" sldId="500"/>
        </pc:sldMkLst>
        <pc:spChg chg="del">
          <ac:chgData name="Landi, Stéphane" userId="229941cf-5d71-437b-b6f6-728eb74f4ff6" providerId="ADAL" clId="{D770FC88-9B04-47EF-B01A-EA34EF949FCF}" dt="2019-01-31T11:49:27.352" v="30" actId="478"/>
          <ac:spMkLst>
            <pc:docMk/>
            <pc:sldMk cId="1773304883" sldId="500"/>
            <ac:spMk id="7" creationId="{4AA310D4-C564-47EB-85C5-DFD198DD494F}"/>
          </ac:spMkLst>
        </pc:spChg>
        <pc:graphicFrameChg chg="add">
          <ac:chgData name="Landi, Stéphane" userId="229941cf-5d71-437b-b6f6-728eb74f4ff6" providerId="ADAL" clId="{D770FC88-9B04-47EF-B01A-EA34EF949FCF}" dt="2019-01-31T11:49:21.706" v="29"/>
          <ac:graphicFrameMkLst>
            <pc:docMk/>
            <pc:sldMk cId="1773304883" sldId="500"/>
            <ac:graphicFrameMk id="6" creationId="{128266E0-E77A-49BF-9A6E-34269D515603}"/>
          </ac:graphicFrameMkLst>
        </pc:graphicFrameChg>
        <pc:graphicFrameChg chg="del">
          <ac:chgData name="Landi, Stéphane" userId="229941cf-5d71-437b-b6f6-728eb74f4ff6" providerId="ADAL" clId="{D770FC88-9B04-47EF-B01A-EA34EF949FCF}" dt="2019-01-31T11:49:21.052" v="28" actId="478"/>
          <ac:graphicFrameMkLst>
            <pc:docMk/>
            <pc:sldMk cId="1773304883" sldId="500"/>
            <ac:graphicFrameMk id="8" creationId="{4FF08E58-49D8-48EA-A886-EBF739EAF01C}"/>
          </ac:graphicFrameMkLst>
        </pc:graphicFrameChg>
      </pc:sldChg>
      <pc:sldChg chg="addSp delSp add">
        <pc:chgData name="Landi, Stéphane" userId="229941cf-5d71-437b-b6f6-728eb74f4ff6" providerId="ADAL" clId="{D770FC88-9B04-47EF-B01A-EA34EF949FCF}" dt="2019-01-31T11:50:06.222" v="34"/>
        <pc:sldMkLst>
          <pc:docMk/>
          <pc:sldMk cId="1106151130" sldId="520"/>
        </pc:sldMkLst>
        <pc:spChg chg="del">
          <ac:chgData name="Landi, Stéphane" userId="229941cf-5d71-437b-b6f6-728eb74f4ff6" providerId="ADAL" clId="{D770FC88-9B04-47EF-B01A-EA34EF949FCF}" dt="2019-01-31T11:49:52.567" v="32" actId="478"/>
          <ac:spMkLst>
            <pc:docMk/>
            <pc:sldMk cId="1106151130" sldId="520"/>
            <ac:spMk id="2" creationId="{33DD9944-57B3-4498-BBEC-0CC1B315F760}"/>
          </ac:spMkLst>
        </pc:spChg>
        <pc:spChg chg="del">
          <ac:chgData name="Landi, Stéphane" userId="229941cf-5d71-437b-b6f6-728eb74f4ff6" providerId="ADAL" clId="{D770FC88-9B04-47EF-B01A-EA34EF949FCF}" dt="2019-01-31T11:49:52.567" v="32" actId="478"/>
          <ac:spMkLst>
            <pc:docMk/>
            <pc:sldMk cId="1106151130" sldId="520"/>
            <ac:spMk id="3" creationId="{17901A75-FB58-412C-84BB-65F59AC871C9}"/>
          </ac:spMkLst>
        </pc:spChg>
        <pc:spChg chg="add">
          <ac:chgData name="Landi, Stéphane" userId="229941cf-5d71-437b-b6f6-728eb74f4ff6" providerId="ADAL" clId="{D770FC88-9B04-47EF-B01A-EA34EF949FCF}" dt="2019-01-31T11:50:06.222" v="34"/>
          <ac:spMkLst>
            <pc:docMk/>
            <pc:sldMk cId="1106151130" sldId="520"/>
            <ac:spMk id="5" creationId="{A0BB891D-F7DB-443E-974A-2FBD518E3E61}"/>
          </ac:spMkLst>
        </pc:spChg>
        <pc:graphicFrameChg chg="add">
          <ac:chgData name="Landi, Stéphane" userId="229941cf-5d71-437b-b6f6-728eb74f4ff6" providerId="ADAL" clId="{D770FC88-9B04-47EF-B01A-EA34EF949FCF}" dt="2019-01-31T11:50:01.140" v="33"/>
          <ac:graphicFrameMkLst>
            <pc:docMk/>
            <pc:sldMk cId="1106151130" sldId="520"/>
            <ac:graphicFrameMk id="4" creationId="{1B506BEF-A3BA-4284-86DE-39B6814C8D70}"/>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7.w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5925441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2/4/2019</a:t>
            </a:fld>
            <a:endParaRPr lang="en-US" dirty="0"/>
          </a:p>
        </p:txBody>
      </p:sp>
      <p:sp>
        <p:nvSpPr>
          <p:cNvPr id="4" name="Slide Image Placeholder 3"/>
          <p:cNvSpPr>
            <a:spLocks noGrp="1" noRot="1" noChangeAspect="1"/>
          </p:cNvSpPr>
          <p:nvPr>
            <p:ph type="sldImg" idx="2"/>
          </p:nvPr>
        </p:nvSpPr>
        <p:spPr>
          <a:xfrm>
            <a:off x="109538" y="741363"/>
            <a:ext cx="65786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1935478683"/>
      </p:ext>
    </p:extLst>
  </p:cSld>
  <p:clrMap bg1="lt1" tx1="dk1" bg2="lt2" tx2="dk2" accent1="accent1" accent2="accent2" accent3="accent3" accent4="accent4" accent5="accent5" accent6="accent6" hlink="hlink" folHlink="folHlink"/>
  <p:notesStyle>
    <a:lvl1pPr marL="0" algn="l" defTabSz="1038754" rtl="0" eaLnBrk="1" latinLnBrk="0" hangingPunct="1">
      <a:defRPr sz="1300" kern="1200">
        <a:solidFill>
          <a:schemeClr val="tx1"/>
        </a:solidFill>
        <a:latin typeface="+mn-lt"/>
        <a:ea typeface="+mn-ea"/>
        <a:cs typeface="+mn-cs"/>
      </a:defRPr>
    </a:lvl1pPr>
    <a:lvl2pPr marL="519377" algn="l" defTabSz="1038754" rtl="0" eaLnBrk="1" latinLnBrk="0" hangingPunct="1">
      <a:defRPr sz="1300" kern="1200">
        <a:solidFill>
          <a:schemeClr val="tx1"/>
        </a:solidFill>
        <a:latin typeface="+mn-lt"/>
        <a:ea typeface="+mn-ea"/>
        <a:cs typeface="+mn-cs"/>
      </a:defRPr>
    </a:lvl2pPr>
    <a:lvl3pPr marL="1038754" algn="l" defTabSz="1038754" rtl="0" eaLnBrk="1" latinLnBrk="0" hangingPunct="1">
      <a:defRPr sz="1300" kern="1200">
        <a:solidFill>
          <a:schemeClr val="tx1"/>
        </a:solidFill>
        <a:latin typeface="+mn-lt"/>
        <a:ea typeface="+mn-ea"/>
        <a:cs typeface="+mn-cs"/>
      </a:defRPr>
    </a:lvl3pPr>
    <a:lvl4pPr marL="1558131" algn="l" defTabSz="1038754" rtl="0" eaLnBrk="1" latinLnBrk="0" hangingPunct="1">
      <a:defRPr sz="1300" kern="1200">
        <a:solidFill>
          <a:schemeClr val="tx1"/>
        </a:solidFill>
        <a:latin typeface="+mn-lt"/>
        <a:ea typeface="+mn-ea"/>
        <a:cs typeface="+mn-cs"/>
      </a:defRPr>
    </a:lvl4pPr>
    <a:lvl5pPr marL="2077510" algn="l" defTabSz="1038754" rtl="0" eaLnBrk="1" latinLnBrk="0" hangingPunct="1">
      <a:defRPr sz="1300" kern="1200">
        <a:solidFill>
          <a:schemeClr val="tx1"/>
        </a:solidFill>
        <a:latin typeface="+mn-lt"/>
        <a:ea typeface="+mn-ea"/>
        <a:cs typeface="+mn-cs"/>
      </a:defRPr>
    </a:lvl5pPr>
    <a:lvl6pPr marL="2596887" algn="l" defTabSz="1038754" rtl="0" eaLnBrk="1" latinLnBrk="0" hangingPunct="1">
      <a:defRPr sz="1300" kern="1200">
        <a:solidFill>
          <a:schemeClr val="tx1"/>
        </a:solidFill>
        <a:latin typeface="+mn-lt"/>
        <a:ea typeface="+mn-ea"/>
        <a:cs typeface="+mn-cs"/>
      </a:defRPr>
    </a:lvl6pPr>
    <a:lvl7pPr marL="3116264" algn="l" defTabSz="1038754" rtl="0" eaLnBrk="1" latinLnBrk="0" hangingPunct="1">
      <a:defRPr sz="1300" kern="1200">
        <a:solidFill>
          <a:schemeClr val="tx1"/>
        </a:solidFill>
        <a:latin typeface="+mn-lt"/>
        <a:ea typeface="+mn-ea"/>
        <a:cs typeface="+mn-cs"/>
      </a:defRPr>
    </a:lvl7pPr>
    <a:lvl8pPr marL="3635642" algn="l" defTabSz="1038754" rtl="0" eaLnBrk="1" latinLnBrk="0" hangingPunct="1">
      <a:defRPr sz="1300" kern="1200">
        <a:solidFill>
          <a:schemeClr val="tx1"/>
        </a:solidFill>
        <a:latin typeface="+mn-lt"/>
        <a:ea typeface="+mn-ea"/>
        <a:cs typeface="+mn-cs"/>
      </a:defRPr>
    </a:lvl8pPr>
    <a:lvl9pPr marL="4155019" algn="l" defTabSz="103875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41363"/>
            <a:ext cx="65786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4879305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extLst>
      <p:ext uri="{BB962C8B-B14F-4D97-AF65-F5344CB8AC3E}">
        <p14:creationId xmlns:p14="http://schemas.microsoft.com/office/powerpoint/2010/main" val="4590156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9.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hyperlink" Target="http://www.youtube.com/capgeminimedia" TargetMode="External"/><Relationship Id="rId1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12.png"/><Relationship Id="rId17" Type="http://schemas.openxmlformats.org/officeDocument/2006/relationships/image" Target="../media/image15.png"/><Relationship Id="rId2" Type="http://schemas.openxmlformats.org/officeDocument/2006/relationships/tags" Target="../tags/tag8.xml"/><Relationship Id="rId16" Type="http://schemas.openxmlformats.org/officeDocument/2006/relationships/image" Target="../media/image14.png"/><Relationship Id="rId1" Type="http://schemas.openxmlformats.org/officeDocument/2006/relationships/vmlDrawing" Target="../drawings/vmlDrawing7.vml"/><Relationship Id="rId6" Type="http://schemas.openxmlformats.org/officeDocument/2006/relationships/hyperlink" Target="http://www.capgemini.com/"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11.png"/><Relationship Id="rId19" Type="http://schemas.openxmlformats.org/officeDocument/2006/relationships/image" Target="../media/image3.svg"/><Relationship Id="rId4" Type="http://schemas.openxmlformats.org/officeDocument/2006/relationships/oleObject" Target="../embeddings/oleObject7.bin"/><Relationship Id="rId9" Type="http://schemas.openxmlformats.org/officeDocument/2006/relationships/hyperlink" Target="http://www.slideshare.net/capgemini" TargetMode="External"/><Relationship Id="rId14"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3.sv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9.jpe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hyperlink" Target="http://www.youtube.com/capgeminimedia" TargetMode="External"/><Relationship Id="rId18" Type="http://schemas.openxmlformats.org/officeDocument/2006/relationships/image" Target="../media/image2.png"/><Relationship Id="rId3" Type="http://schemas.openxmlformats.org/officeDocument/2006/relationships/slideMaster" Target="../slideMasters/slideMaster2.xml"/><Relationship Id="rId7" Type="http://schemas.openxmlformats.org/officeDocument/2006/relationships/hyperlink" Target="http://www.linkedin.com/company/capgemini" TargetMode="External"/><Relationship Id="rId12" Type="http://schemas.openxmlformats.org/officeDocument/2006/relationships/image" Target="../media/image12.png"/><Relationship Id="rId17" Type="http://schemas.openxmlformats.org/officeDocument/2006/relationships/image" Target="../media/image15.png"/><Relationship Id="rId2" Type="http://schemas.openxmlformats.org/officeDocument/2006/relationships/tags" Target="../tags/tag15.xml"/><Relationship Id="rId16" Type="http://schemas.openxmlformats.org/officeDocument/2006/relationships/image" Target="../media/image14.png"/><Relationship Id="rId1" Type="http://schemas.openxmlformats.org/officeDocument/2006/relationships/vmlDrawing" Target="../drawings/vmlDrawing14.vml"/><Relationship Id="rId6" Type="http://schemas.openxmlformats.org/officeDocument/2006/relationships/hyperlink" Target="http://www.capgemini.com/"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11.png"/><Relationship Id="rId19" Type="http://schemas.openxmlformats.org/officeDocument/2006/relationships/image" Target="../media/image3.svg"/><Relationship Id="rId4" Type="http://schemas.openxmlformats.org/officeDocument/2006/relationships/oleObject" Target="../embeddings/oleObject14.bin"/><Relationship Id="rId9" Type="http://schemas.openxmlformats.org/officeDocument/2006/relationships/hyperlink" Target="http://www.slideshare.net/capgemini" TargetMode="External"/><Relationship Id="rId14" Type="http://schemas.openxmlformats.org/officeDocument/2006/relationships/image" Target="../media/image13.png"/></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6.emf"/><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2.xml"/><Relationship Id="rId4" Type="http://schemas.openxmlformats.org/officeDocument/2006/relationships/tags" Target="../tags/tag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16.bin"/><Relationship Id="rId13" Type="http://schemas.openxmlformats.org/officeDocument/2006/relationships/image" Target="../media/image21.png"/><Relationship Id="rId3" Type="http://schemas.openxmlformats.org/officeDocument/2006/relationships/tags" Target="../tags/tag20.xml"/><Relationship Id="rId7" Type="http://schemas.openxmlformats.org/officeDocument/2006/relationships/image" Target="../media/image17.jpeg"/><Relationship Id="rId12" Type="http://schemas.openxmlformats.org/officeDocument/2006/relationships/image" Target="../media/image20.png"/><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slideMaster" Target="../slideMasters/slideMaster2.xml"/><Relationship Id="rId11" Type="http://schemas.openxmlformats.org/officeDocument/2006/relationships/image" Target="../media/image19.png"/><Relationship Id="rId5" Type="http://schemas.openxmlformats.org/officeDocument/2006/relationships/tags" Target="../tags/tag22.xml"/><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tags" Target="../tags/tag21.xml"/><Relationship Id="rId9" Type="http://schemas.openxmlformats.org/officeDocument/2006/relationships/image" Target="../media/image16.emf"/><Relationship Id="rId14" Type="http://schemas.openxmlformats.org/officeDocument/2006/relationships/image" Target="../media/image22.png"/></Relationships>
</file>

<file path=ppt/slideLayouts/_rels/slideLayout3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2"/>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xmlns="" id="{61C6E3C8-A4B6-4B36-B825-E6B8644DC952}"/>
              </a:ext>
            </a:extLst>
          </p:cNvPr>
          <p:cNvPicPr preferRelativeResize="0">
            <a:picLocks/>
          </p:cNvPicPr>
          <p:nvPr userDrawn="1"/>
        </p:nvPicPr>
        <p:blipFill rotWithShape="1">
          <a:blip r:embed="rId2"/>
          <a:srcRect b="231"/>
          <a:stretch/>
        </p:blipFill>
        <p:spPr>
          <a:xfrm>
            <a:off x="2" y="0"/>
            <a:ext cx="12249170" cy="6858000"/>
          </a:xfrm>
          <a:prstGeom prst="rect">
            <a:avLst/>
          </a:prstGeom>
        </p:spPr>
      </p:pic>
      <p:sp>
        <p:nvSpPr>
          <p:cNvPr id="11" name="Title 1"/>
          <p:cNvSpPr>
            <a:spLocks noGrp="1"/>
          </p:cNvSpPr>
          <p:nvPr>
            <p:ph type="ctrTitle" hasCustomPrompt="1"/>
          </p:nvPr>
        </p:nvSpPr>
        <p:spPr>
          <a:xfrm>
            <a:off x="407882" y="731062"/>
            <a:ext cx="5542548" cy="897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lvl1pPr>
              <a:lnSpc>
                <a:spcPts val="2999"/>
              </a:lnSpc>
              <a:defRPr lang="en-US" sz="2599" b="0" dirty="0">
                <a:solidFill>
                  <a:schemeClr val="accent1"/>
                </a:solidFill>
              </a:defRPr>
            </a:lvl1pPr>
          </a:lstStyle>
          <a:p>
            <a:pPr marL="0" lvl="0"/>
            <a:r>
              <a:rPr lang="en-US" noProof="0" dirty="0"/>
              <a:t>Click to insert title</a:t>
            </a:r>
          </a:p>
        </p:txBody>
      </p:sp>
      <p:sp>
        <p:nvSpPr>
          <p:cNvPr id="12" name="Subtitle 2"/>
          <p:cNvSpPr>
            <a:spLocks noGrp="1"/>
          </p:cNvSpPr>
          <p:nvPr>
            <p:ph type="subTitle" idx="1" hasCustomPrompt="1"/>
          </p:nvPr>
        </p:nvSpPr>
        <p:spPr>
          <a:xfrm>
            <a:off x="412183" y="1862688"/>
            <a:ext cx="5538247" cy="534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126" rtl="0" eaLnBrk="1" fontAlgn="auto" latinLnBrk="0" hangingPunct="1">
              <a:lnSpc>
                <a:spcPts val="1799"/>
              </a:lnSpc>
              <a:spcBef>
                <a:spcPts val="600"/>
              </a:spcBef>
              <a:spcAft>
                <a:spcPts val="0"/>
              </a:spcAft>
              <a:buClrTx/>
              <a:buSzTx/>
              <a:buFont typeface="Arial" panose="020B0604020202020204" pitchFamily="34" charset="0"/>
              <a:buNone/>
              <a:tabLst/>
              <a:defRPr lang="en-US" sz="1600" dirty="0">
                <a:solidFill>
                  <a:schemeClr val="accent2"/>
                </a:solidFill>
              </a:defRPr>
            </a:lvl1pPr>
          </a:lstStyle>
          <a:p>
            <a:pPr marL="0" lvl="0"/>
            <a:r>
              <a:rPr lang="en-US" noProof="0"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407882" y="6101473"/>
            <a:ext cx="2285405" cy="510013"/>
          </a:xfrm>
          <a:prstGeom prst="rect">
            <a:avLst/>
          </a:prstGeom>
        </p:spPr>
      </p:pic>
      <p:sp>
        <p:nvSpPr>
          <p:cNvPr id="10" name="Freeform 7"/>
          <p:cNvSpPr>
            <a:spLocks/>
          </p:cNvSpPr>
          <p:nvPr userDrawn="1"/>
        </p:nvSpPr>
        <p:spPr bwMode="auto">
          <a:xfrm>
            <a:off x="9516171" y="6842126"/>
            <a:ext cx="107922"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endParaRPr>
          </a:p>
        </p:txBody>
      </p:sp>
      <p:pic>
        <p:nvPicPr>
          <p:cNvPr id="13" name="Image 12">
            <a:extLst>
              <a:ext uri="{FF2B5EF4-FFF2-40B4-BE49-F238E27FC236}">
                <a16:creationId xmlns:a16="http://schemas.microsoft.com/office/drawing/2014/main" xmlns="" id="{EE15382D-D637-4063-B3D0-7DD646E6F04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070780" y="3675653"/>
            <a:ext cx="2622948" cy="672727"/>
          </a:xfrm>
          <a:prstGeom prst="rect">
            <a:avLst/>
          </a:prstGeom>
        </p:spPr>
      </p:pic>
    </p:spTree>
    <p:extLst>
      <p:ext uri="{BB962C8B-B14F-4D97-AF65-F5344CB8AC3E}">
        <p14:creationId xmlns:p14="http://schemas.microsoft.com/office/powerpoint/2010/main" val="3524959585"/>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lnSpc>
                <a:spcPct val="85000"/>
              </a:lnSpc>
            </a:pPr>
            <a:r>
              <a:rPr lang="en-US" dirty="0">
                <a:solidFill>
                  <a:srgbClr val="0070AD"/>
                </a:solidFill>
              </a:rPr>
              <a:t>Group IT Project Charter Template v14.1 | 01/05/2018</a:t>
            </a:r>
          </a:p>
        </p:txBody>
      </p:sp>
      <p:sp>
        <p:nvSpPr>
          <p:cNvPr id="6" name="Footer Placeholder 5"/>
          <p:cNvSpPr>
            <a:spLocks noGrp="1"/>
          </p:cNvSpPr>
          <p:nvPr>
            <p:ph type="ftr" sz="quarter" idx="11"/>
          </p:nvPr>
        </p:nvSpPr>
        <p:spPr/>
        <p:txBody>
          <a:bodyPr/>
          <a:lstStyle/>
          <a:p>
            <a:r>
              <a:rPr lang="en-US" dirty="0">
                <a:solidFill>
                  <a:srgbClr val="E6E7E7">
                    <a:lumMod val="50000"/>
                  </a:srgbClr>
                </a:solidFill>
              </a:rPr>
              <a:t>© 2018 Capgemini. All rights reserved.</a:t>
            </a:r>
          </a:p>
        </p:txBody>
      </p:sp>
      <p:sp>
        <p:nvSpPr>
          <p:cNvPr id="7" name="Slide Number Placeholder 6"/>
          <p:cNvSpPr>
            <a:spLocks noGrp="1"/>
          </p:cNvSpPr>
          <p:nvPr>
            <p:ph type="sldNum" sz="quarter" idx="12"/>
          </p:nvPr>
        </p:nvSpPr>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spTree>
    <p:extLst>
      <p:ext uri="{BB962C8B-B14F-4D97-AF65-F5344CB8AC3E}">
        <p14:creationId xmlns:p14="http://schemas.microsoft.com/office/powerpoint/2010/main" val="120529510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0" y="4077072"/>
            <a:ext cx="12188825"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srgbClr val="FFFFFF"/>
              </a:solidFill>
            </a:endParaRPr>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377" y="1196691"/>
            <a:ext cx="3565231" cy="412363"/>
          </a:xfrm>
          <a:prstGeom prst="rect">
            <a:avLst/>
          </a:prstGeom>
          <a:noFill/>
        </p:spPr>
        <p:txBody>
          <a:bodyPr anchor="ctr">
            <a:noAutofit/>
          </a:bodyPr>
          <a:lstStyle>
            <a:lvl1pPr algn="l">
              <a:defRPr sz="1799"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5713" y="1196691"/>
            <a:ext cx="3565231" cy="412363"/>
          </a:xfrm>
          <a:prstGeom prst="rect">
            <a:avLst/>
          </a:prstGeom>
          <a:noFill/>
        </p:spPr>
        <p:txBody>
          <a:bodyPr anchor="ctr">
            <a:noAutofit/>
          </a:bodyPr>
          <a:lstStyle>
            <a:lvl1pPr algn="l">
              <a:defRPr sz="1799"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1046" y="1196691"/>
            <a:ext cx="3565231" cy="412363"/>
          </a:xfrm>
          <a:prstGeom prst="rect">
            <a:avLst/>
          </a:prstGeom>
          <a:noFill/>
        </p:spPr>
        <p:txBody>
          <a:bodyPr anchor="ctr">
            <a:noAutofit/>
          </a:bodyPr>
          <a:lstStyle>
            <a:lvl1pPr algn="l">
              <a:defRPr sz="1799"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882" y="4231997"/>
            <a:ext cx="11373062"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noProof="0"/>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377" y="1639909"/>
            <a:ext cx="3565231" cy="1994493"/>
          </a:xfrm>
          <a:prstGeom prst="rect">
            <a:avLst/>
          </a:prstGeom>
        </p:spPr>
        <p:txBody>
          <a:bodyPr>
            <a:noAutofit/>
          </a:bodyPr>
          <a:lstStyle>
            <a:lvl1pPr>
              <a:lnSpc>
                <a:spcPts val="1600"/>
              </a:lnSpc>
              <a:defRPr sz="1400">
                <a:solidFill>
                  <a:schemeClr val="tx1"/>
                </a:solidFill>
              </a:defRPr>
            </a:lvl1pPr>
            <a:lvl2pPr marL="172986" indent="-168225">
              <a:lnSpc>
                <a:spcPts val="1400"/>
              </a:lnSpc>
              <a:defRPr sz="1200">
                <a:solidFill>
                  <a:schemeClr val="tx1"/>
                </a:solidFill>
              </a:defRPr>
            </a:lvl2pPr>
            <a:lvl3pPr marL="347559" indent="-174573">
              <a:lnSpc>
                <a:spcPts val="1400"/>
              </a:lnSpc>
              <a:defRPr sz="1200">
                <a:solidFill>
                  <a:schemeClr val="tx1"/>
                </a:solidFill>
              </a:defRPr>
            </a:lvl3pPr>
            <a:lvl4pPr marL="509435" indent="-161876">
              <a:lnSpc>
                <a:spcPts val="1200"/>
              </a:lnSpc>
              <a:defRPr sz="1100">
                <a:solidFill>
                  <a:schemeClr val="tx1"/>
                </a:solidFill>
              </a:defRPr>
            </a:lvl4pPr>
            <a:lvl5pPr>
              <a:lnSpc>
                <a:spcPct val="100000"/>
              </a:lnSpc>
              <a:defRPr sz="1200">
                <a:solidFill>
                  <a:schemeClr val="tx1"/>
                </a:solidFill>
              </a:defRPr>
            </a:lvl5pPr>
          </a:lstStyle>
          <a:p>
            <a:pPr lvl="0"/>
            <a:r>
              <a:rPr lang="en-US" noProof="0"/>
              <a:t>Click to insert text</a:t>
            </a:r>
          </a:p>
          <a:p>
            <a:pPr lvl="1"/>
            <a:r>
              <a:rPr lang="en-US" noProof="0"/>
              <a:t>Second level</a:t>
            </a:r>
          </a:p>
          <a:p>
            <a:pPr lvl="2"/>
            <a:r>
              <a:rPr lang="en-US" noProof="0"/>
              <a:t>Third level</a:t>
            </a:r>
          </a:p>
          <a:p>
            <a:pPr lvl="3"/>
            <a:r>
              <a:rPr lang="en-US" noProof="0"/>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1046" y="1639909"/>
            <a:ext cx="3565231" cy="1994493"/>
          </a:xfrm>
          <a:prstGeom prst="rect">
            <a:avLst/>
          </a:prstGeom>
        </p:spPr>
        <p:txBody>
          <a:bodyPr>
            <a:noAutofit/>
          </a:bodyPr>
          <a:lstStyle>
            <a:lvl1pPr>
              <a:lnSpc>
                <a:spcPts val="1600"/>
              </a:lnSpc>
              <a:defRPr sz="1400">
                <a:solidFill>
                  <a:schemeClr val="tx1"/>
                </a:solidFill>
              </a:defRPr>
            </a:lvl1pPr>
            <a:lvl2pPr marL="172986" indent="-168225">
              <a:lnSpc>
                <a:spcPts val="1400"/>
              </a:lnSpc>
              <a:defRPr sz="1200">
                <a:solidFill>
                  <a:schemeClr val="tx1"/>
                </a:solidFill>
              </a:defRPr>
            </a:lvl2pPr>
            <a:lvl3pPr marL="347559" indent="-174573">
              <a:lnSpc>
                <a:spcPts val="1400"/>
              </a:lnSpc>
              <a:defRPr sz="1200">
                <a:solidFill>
                  <a:schemeClr val="tx1"/>
                </a:solidFill>
              </a:defRPr>
            </a:lvl3pPr>
            <a:lvl4pPr marL="509435" indent="-161876">
              <a:lnSpc>
                <a:spcPts val="1200"/>
              </a:lnSpc>
              <a:defRPr sz="1100">
                <a:solidFill>
                  <a:schemeClr val="tx1"/>
                </a:solidFill>
              </a:defRPr>
            </a:lvl4pPr>
            <a:lvl5pPr>
              <a:lnSpc>
                <a:spcPct val="100000"/>
              </a:lnSpc>
              <a:defRPr sz="1200">
                <a:solidFill>
                  <a:schemeClr val="tx1"/>
                </a:solidFill>
              </a:defRPr>
            </a:lvl5pPr>
          </a:lstStyle>
          <a:p>
            <a:pPr lvl="0"/>
            <a:r>
              <a:rPr lang="en-US" noProof="0"/>
              <a:t>Click to insert text</a:t>
            </a:r>
          </a:p>
          <a:p>
            <a:pPr lvl="1"/>
            <a:r>
              <a:rPr lang="en-US" noProof="0"/>
              <a:t>Second level</a:t>
            </a:r>
          </a:p>
          <a:p>
            <a:pPr lvl="2"/>
            <a:r>
              <a:rPr lang="en-US" noProof="0"/>
              <a:t>Third level</a:t>
            </a:r>
          </a:p>
          <a:p>
            <a:pPr lvl="3"/>
            <a:r>
              <a:rPr lang="en-US" noProof="0"/>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5713" y="1639909"/>
            <a:ext cx="3565231" cy="1994493"/>
          </a:xfrm>
          <a:prstGeom prst="rect">
            <a:avLst/>
          </a:prstGeom>
        </p:spPr>
        <p:txBody>
          <a:bodyPr>
            <a:noAutofit/>
          </a:bodyPr>
          <a:lstStyle>
            <a:lvl1pPr>
              <a:lnSpc>
                <a:spcPts val="1600"/>
              </a:lnSpc>
              <a:defRPr sz="1400">
                <a:solidFill>
                  <a:schemeClr val="tx1"/>
                </a:solidFill>
              </a:defRPr>
            </a:lvl1pPr>
            <a:lvl2pPr marL="172986" indent="-168225">
              <a:lnSpc>
                <a:spcPts val="1400"/>
              </a:lnSpc>
              <a:defRPr sz="1200">
                <a:solidFill>
                  <a:schemeClr val="tx1"/>
                </a:solidFill>
              </a:defRPr>
            </a:lvl2pPr>
            <a:lvl3pPr marL="347559" indent="-174573">
              <a:lnSpc>
                <a:spcPts val="1400"/>
              </a:lnSpc>
              <a:defRPr sz="1200">
                <a:solidFill>
                  <a:schemeClr val="tx1"/>
                </a:solidFill>
              </a:defRPr>
            </a:lvl3pPr>
            <a:lvl4pPr marL="509435" indent="-161876">
              <a:lnSpc>
                <a:spcPts val="1200"/>
              </a:lnSpc>
              <a:defRPr sz="1100">
                <a:solidFill>
                  <a:schemeClr val="tx1"/>
                </a:solidFill>
              </a:defRPr>
            </a:lvl4pPr>
            <a:lvl5pPr>
              <a:lnSpc>
                <a:spcPct val="100000"/>
              </a:lnSpc>
              <a:defRPr sz="1200">
                <a:solidFill>
                  <a:schemeClr val="tx1"/>
                </a:solidFill>
              </a:defRPr>
            </a:lvl5pPr>
          </a:lstStyle>
          <a:p>
            <a:pPr lvl="0"/>
            <a:r>
              <a:rPr lang="en-US" noProof="0"/>
              <a:t>Click to insert text</a:t>
            </a:r>
          </a:p>
          <a:p>
            <a:pPr lvl="1"/>
            <a:r>
              <a:rPr lang="en-US" noProof="0"/>
              <a:t>Second level</a:t>
            </a:r>
          </a:p>
          <a:p>
            <a:pPr lvl="2"/>
            <a:r>
              <a:rPr lang="en-US" noProof="0"/>
              <a:t>Third level</a:t>
            </a:r>
          </a:p>
          <a:p>
            <a:pPr lvl="3"/>
            <a:r>
              <a:rPr lang="en-US" noProof="0"/>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377" y="4674188"/>
            <a:ext cx="11354567" cy="1799211"/>
          </a:xfrm>
          <a:prstGeom prst="rect">
            <a:avLst/>
          </a:prstGeom>
        </p:spPr>
        <p:txBody>
          <a:bodyPr>
            <a:noAutofit/>
          </a:bodyPr>
          <a:lstStyle>
            <a:lvl1pPr>
              <a:lnSpc>
                <a:spcPts val="1600"/>
              </a:lnSpc>
              <a:defRPr sz="1400">
                <a:solidFill>
                  <a:schemeClr val="tx1"/>
                </a:solidFill>
              </a:defRPr>
            </a:lvl1pPr>
            <a:lvl2pPr marL="172986" indent="-168225">
              <a:lnSpc>
                <a:spcPts val="1400"/>
              </a:lnSpc>
              <a:defRPr sz="1200">
                <a:solidFill>
                  <a:schemeClr val="tx1"/>
                </a:solidFill>
              </a:defRPr>
            </a:lvl2pPr>
            <a:lvl3pPr marL="347559" indent="-174573">
              <a:lnSpc>
                <a:spcPts val="1400"/>
              </a:lnSpc>
              <a:defRPr sz="1200">
                <a:solidFill>
                  <a:schemeClr val="tx1"/>
                </a:solidFill>
              </a:defRPr>
            </a:lvl3pPr>
            <a:lvl4pPr marL="509435" indent="-161876">
              <a:lnSpc>
                <a:spcPts val="1200"/>
              </a:lnSpc>
              <a:defRPr sz="1100">
                <a:solidFill>
                  <a:schemeClr val="tx1"/>
                </a:solidFill>
              </a:defRPr>
            </a:lvl4pPr>
            <a:lvl5pPr>
              <a:lnSpc>
                <a:spcPct val="100000"/>
              </a:lnSpc>
              <a:defRPr sz="1200">
                <a:solidFill>
                  <a:schemeClr val="tx1"/>
                </a:solidFill>
              </a:defRPr>
            </a:lvl5pPr>
          </a:lstStyle>
          <a:p>
            <a:pPr lvl="0"/>
            <a:r>
              <a:rPr lang="en-US" noProof="0"/>
              <a:t>Click to insert text</a:t>
            </a:r>
          </a:p>
          <a:p>
            <a:pPr lvl="1"/>
            <a:r>
              <a:rPr lang="en-US" noProof="0"/>
              <a:t>Second level</a:t>
            </a:r>
          </a:p>
          <a:p>
            <a:pPr lvl="2"/>
            <a:r>
              <a:rPr lang="en-US" noProof="0"/>
              <a:t>Third level</a:t>
            </a:r>
          </a:p>
          <a:p>
            <a:pPr lvl="3"/>
            <a:r>
              <a:rPr lang="en-US" noProof="0"/>
              <a:t>Fourth level</a:t>
            </a:r>
          </a:p>
        </p:txBody>
      </p:sp>
      <p:cxnSp>
        <p:nvCxnSpPr>
          <p:cNvPr id="2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11565747"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hasCustomPrompt="1"/>
          </p:nvPr>
        </p:nvSpPr>
        <p:spPr/>
        <p:txBody>
          <a:bodyPr anchor="ctr"/>
          <a:lstStyle/>
          <a:p>
            <a:r>
              <a:rPr lang="en-US" noProof="0" dirty="0"/>
              <a:t>Click to edit Master title style</a:t>
            </a:r>
          </a:p>
        </p:txBody>
      </p:sp>
      <p:sp>
        <p:nvSpPr>
          <p:cNvPr id="6" name="Date Placeholder 5"/>
          <p:cNvSpPr>
            <a:spLocks noGrp="1"/>
          </p:cNvSpPr>
          <p:nvPr>
            <p:ph type="dt" sz="half" idx="36"/>
          </p:nvPr>
        </p:nvSpPr>
        <p:spPr/>
        <p:txBody>
          <a:bodyPr/>
          <a:lstStyle/>
          <a:p>
            <a:pPr>
              <a:lnSpc>
                <a:spcPct val="85000"/>
              </a:lnSpc>
            </a:pPr>
            <a:r>
              <a:rPr lang="en-US" dirty="0">
                <a:solidFill>
                  <a:srgbClr val="0070AD"/>
                </a:solidFill>
              </a:rPr>
              <a:t>Group IT Project Charter Template v14.1 | 01/05/2018</a:t>
            </a:r>
          </a:p>
        </p:txBody>
      </p:sp>
      <p:sp>
        <p:nvSpPr>
          <p:cNvPr id="7" name="Footer Placeholder 6"/>
          <p:cNvSpPr>
            <a:spLocks noGrp="1"/>
          </p:cNvSpPr>
          <p:nvPr>
            <p:ph type="ftr" sz="quarter" idx="37"/>
          </p:nvPr>
        </p:nvSpPr>
        <p:spPr/>
        <p:txBody>
          <a:bodyPr/>
          <a:lstStyle/>
          <a:p>
            <a:r>
              <a:rPr lang="en-US" dirty="0">
                <a:solidFill>
                  <a:srgbClr val="E6E7E7">
                    <a:lumMod val="50000"/>
                  </a:srgbClr>
                </a:solidFill>
              </a:rPr>
              <a:t>© 2018 Capgemini. All rights reserved.</a:t>
            </a:r>
          </a:p>
        </p:txBody>
      </p:sp>
      <p:sp>
        <p:nvSpPr>
          <p:cNvPr id="8" name="Slide Number Placeholder 7"/>
          <p:cNvSpPr>
            <a:spLocks noGrp="1"/>
          </p:cNvSpPr>
          <p:nvPr>
            <p:ph type="sldNum" sz="quarter" idx="38"/>
          </p:nvPr>
        </p:nvSpPr>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spTree>
    <p:extLst>
      <p:ext uri="{BB962C8B-B14F-4D97-AF65-F5344CB8AC3E}">
        <p14:creationId xmlns:p14="http://schemas.microsoft.com/office/powerpoint/2010/main" val="311376398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Gre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lnSpc>
                <a:spcPct val="85000"/>
              </a:lnSpc>
            </a:pPr>
            <a:r>
              <a:rPr lang="en-US" dirty="0">
                <a:solidFill>
                  <a:srgbClr val="0070AD"/>
                </a:solidFill>
              </a:rPr>
              <a:t>Group IT Project Charter Template v14.1 | 01/05/2018</a:t>
            </a:r>
          </a:p>
        </p:txBody>
      </p:sp>
      <p:sp>
        <p:nvSpPr>
          <p:cNvPr id="6" name="Footer Placeholder 5"/>
          <p:cNvSpPr>
            <a:spLocks noGrp="1"/>
          </p:cNvSpPr>
          <p:nvPr>
            <p:ph type="ftr" sz="quarter" idx="11"/>
          </p:nvPr>
        </p:nvSpPr>
        <p:spPr/>
        <p:txBody>
          <a:bodyPr/>
          <a:lstStyle/>
          <a:p>
            <a:r>
              <a:rPr lang="en-US" dirty="0">
                <a:solidFill>
                  <a:srgbClr val="E6E7E7">
                    <a:lumMod val="50000"/>
                  </a:srgbClr>
                </a:solidFill>
              </a:rPr>
              <a:t>© 2018 Capgemini. All rights reserved.</a:t>
            </a:r>
          </a:p>
        </p:txBody>
      </p:sp>
      <p:sp>
        <p:nvSpPr>
          <p:cNvPr id="7" name="Slide Number Placeholder 6"/>
          <p:cNvSpPr>
            <a:spLocks noGrp="1"/>
          </p:cNvSpPr>
          <p:nvPr>
            <p:ph type="sldNum" sz="quarter" idx="12"/>
          </p:nvPr>
        </p:nvSpPr>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spTree>
    <p:extLst>
      <p:ext uri="{BB962C8B-B14F-4D97-AF65-F5344CB8AC3E}">
        <p14:creationId xmlns:p14="http://schemas.microsoft.com/office/powerpoint/2010/main" val="16234480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Opener1">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7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Freeform 5"/>
          <p:cNvSpPr>
            <a:spLocks/>
          </p:cNvSpPr>
          <p:nvPr userDrawn="1"/>
        </p:nvSpPr>
        <p:spPr bwMode="auto">
          <a:xfrm flipH="1">
            <a:off x="1055025" y="0"/>
            <a:ext cx="111338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5"/>
          </a:solidFill>
          <a:ln>
            <a:noFill/>
          </a:ln>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endParaRPr>
          </a:p>
        </p:txBody>
      </p:sp>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6521128" y="1844825"/>
            <a:ext cx="5259817" cy="1182207"/>
          </a:xfrm>
          <a:prstGeom prst="rect">
            <a:avLst/>
          </a:prstGeom>
        </p:spPr>
        <p:txBody>
          <a:bodyPr anchor="t">
            <a:normAutofit/>
          </a:bodyPr>
          <a:lstStyle>
            <a:lvl1pPr marL="0" indent="0" algn="r">
              <a:lnSpc>
                <a:spcPts val="2999"/>
              </a:lnSpc>
              <a:buNone/>
              <a:defRPr sz="2599">
                <a:solidFill>
                  <a:schemeClr val="accent1"/>
                </a:solidFill>
              </a:defRPr>
            </a:lvl1pPr>
            <a:lvl2pPr marL="457063" indent="0">
              <a:buNone/>
              <a:defRPr sz="5998">
                <a:solidFill>
                  <a:schemeClr val="bg1"/>
                </a:solidFill>
              </a:defRPr>
            </a:lvl2pPr>
          </a:lstStyle>
          <a:p>
            <a:pPr lvl="0"/>
            <a:r>
              <a:rPr lang="en-US" noProof="0"/>
              <a:t>Click to insert section title</a:t>
            </a:r>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407882" y="6101473"/>
            <a:ext cx="2285405" cy="510013"/>
          </a:xfrm>
          <a:prstGeom prst="rect">
            <a:avLst/>
          </a:prstGeom>
        </p:spPr>
      </p:pic>
      <p:pic>
        <p:nvPicPr>
          <p:cNvPr id="4" name="Image 3">
            <a:extLst>
              <a:ext uri="{FF2B5EF4-FFF2-40B4-BE49-F238E27FC236}">
                <a16:creationId xmlns:a16="http://schemas.microsoft.com/office/drawing/2014/main" xmlns="" id="{C7DBA1BF-AE7B-40C1-91EE-D228A4D7EE93}"/>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0629861" y="116541"/>
            <a:ext cx="1436505" cy="368431"/>
          </a:xfrm>
          <a:prstGeom prst="rect">
            <a:avLst/>
          </a:prstGeom>
        </p:spPr>
      </p:pic>
    </p:spTree>
    <p:extLst>
      <p:ext uri="{BB962C8B-B14F-4D97-AF65-F5344CB8AC3E}">
        <p14:creationId xmlns:p14="http://schemas.microsoft.com/office/powerpoint/2010/main" val="22998880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Opener2">
    <p:bg>
      <p:bgPr>
        <a:solidFill>
          <a:schemeClr val="bg2"/>
        </a:solidFill>
        <a:effectLst/>
      </p:bgPr>
    </p:bg>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xmlns="" id="{BB74C830-A24D-4081-A9B8-75398DD137C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 y="0"/>
            <a:ext cx="12202358" cy="6858000"/>
          </a:xfrm>
          <a:prstGeom prst="rect">
            <a:avLst/>
          </a:prstGeom>
        </p:spPr>
      </p:pic>
      <p:graphicFrame>
        <p:nvGraphicFramePr>
          <p:cNvPr id="9" name="Object 8"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8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335113" y="1268700"/>
            <a:ext cx="4750672" cy="1418714"/>
          </a:xfrm>
          <a:prstGeom prst="rect">
            <a:avLst/>
          </a:prstGeom>
        </p:spPr>
        <p:txBody>
          <a:bodyPr anchor="t">
            <a:normAutofit/>
          </a:bodyPr>
          <a:lstStyle>
            <a:lvl1pPr marL="0" indent="0" algn="l">
              <a:lnSpc>
                <a:spcPts val="2999"/>
              </a:lnSpc>
              <a:buNone/>
              <a:defRPr sz="2599">
                <a:solidFill>
                  <a:schemeClr val="accent1"/>
                </a:solidFill>
              </a:defRPr>
            </a:lvl1pPr>
            <a:lvl2pPr marL="457063" indent="0">
              <a:buNone/>
              <a:defRPr sz="5998">
                <a:solidFill>
                  <a:schemeClr val="bg1"/>
                </a:solidFill>
              </a:defRPr>
            </a:lvl2pPr>
          </a:lstStyle>
          <a:p>
            <a:pPr lvl="0"/>
            <a:r>
              <a:rPr lang="en-US" noProof="0"/>
              <a:t>Click to add section title</a:t>
            </a:r>
          </a:p>
        </p:txBody>
      </p:sp>
      <p:pic>
        <p:nvPicPr>
          <p:cNvPr id="10" name="Image 9">
            <a:extLst>
              <a:ext uri="{FF2B5EF4-FFF2-40B4-BE49-F238E27FC236}">
                <a16:creationId xmlns:a16="http://schemas.microsoft.com/office/drawing/2014/main" xmlns="" id="{00159F0D-65A6-4C38-8D72-0B133D6947D6}"/>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878439" y="6309401"/>
            <a:ext cx="1602085" cy="410899"/>
          </a:xfrm>
          <a:prstGeom prst="rect">
            <a:avLst/>
          </a:prstGeom>
        </p:spPr>
      </p:pic>
    </p:spTree>
    <p:extLst>
      <p:ext uri="{BB962C8B-B14F-4D97-AF65-F5344CB8AC3E}">
        <p14:creationId xmlns:p14="http://schemas.microsoft.com/office/powerpoint/2010/main" val="20683220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losing1">
    <p:bg>
      <p:bgPr>
        <a:solidFill>
          <a:srgbClr val="ECECE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8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1" name="Freeform 30"/>
          <p:cNvSpPr>
            <a:spLocks/>
          </p:cNvSpPr>
          <p:nvPr userDrawn="1"/>
        </p:nvSpPr>
        <p:spPr bwMode="auto">
          <a:xfrm>
            <a:off x="-1242687" y="-24026"/>
            <a:ext cx="7183844"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noAutofit/>
          </a:bodyPr>
          <a:lstStyle/>
          <a:p>
            <a:pPr defTabSz="914126"/>
            <a:endParaRPr lang="en-US" sz="1799" dirty="0">
              <a:solidFill>
                <a:prstClr val="black"/>
              </a:solidFill>
            </a:endParaRPr>
          </a:p>
        </p:txBody>
      </p:sp>
      <p:grpSp>
        <p:nvGrpSpPr>
          <p:cNvPr id="9" name="Group 8"/>
          <p:cNvGrpSpPr/>
          <p:nvPr userDrawn="1"/>
        </p:nvGrpSpPr>
        <p:grpSpPr>
          <a:xfrm>
            <a:off x="4977739" y="2404111"/>
            <a:ext cx="734822"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799" dirty="0">
                <a:solidFill>
                  <a:prstClr val="black"/>
                </a:solidFill>
              </a:endParaRPr>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799" dirty="0">
                <a:solidFill>
                  <a:prstClr val="black"/>
                </a:solidFill>
              </a:endParaRPr>
            </a:p>
          </p:txBody>
        </p:sp>
      </p:grpSp>
      <p:sp>
        <p:nvSpPr>
          <p:cNvPr id="14" name="Rectangle 13"/>
          <p:cNvSpPr/>
          <p:nvPr userDrawn="1"/>
        </p:nvSpPr>
        <p:spPr>
          <a:xfrm>
            <a:off x="6534482" y="2886346"/>
            <a:ext cx="4887283" cy="20548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defTabSz="914126">
              <a:lnSpc>
                <a:spcPts val="1200"/>
              </a:lnSpc>
            </a:pPr>
            <a:r>
              <a:rPr lang="en-US" sz="900" dirty="0">
                <a:solidFill>
                  <a:prstClr val="black"/>
                </a:solidFill>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a:p>
            <a:pPr algn="just" defTabSz="914126">
              <a:lnSpc>
                <a:spcPts val="1200"/>
              </a:lnSpc>
              <a:spcBef>
                <a:spcPts val="600"/>
              </a:spcBef>
            </a:pPr>
            <a:r>
              <a:rPr lang="en-US" sz="900" dirty="0">
                <a:solidFill>
                  <a:prstClr val="black"/>
                </a:solidFill>
              </a:rPr>
              <a:t>Visit us at</a:t>
            </a:r>
          </a:p>
          <a:p>
            <a:pPr algn="just" defTabSz="914126">
              <a:lnSpc>
                <a:spcPts val="1200"/>
              </a:lnSpc>
              <a:spcBef>
                <a:spcPts val="600"/>
              </a:spcBef>
              <a:defRPr/>
            </a:pPr>
            <a:r>
              <a:rPr lang="en-US" sz="1400" dirty="0">
                <a:solidFill>
                  <a:srgbClr val="12ABDB"/>
                </a:solidFill>
                <a:hlinkClick r:id="rId6"/>
              </a:rPr>
              <a:t>www.capgemini.com</a:t>
            </a:r>
            <a:endParaRPr lang="en-US" sz="1400" dirty="0">
              <a:solidFill>
                <a:srgbClr val="12ABDB"/>
              </a:solidFill>
            </a:endParaRPr>
          </a:p>
        </p:txBody>
      </p:sp>
      <p:sp>
        <p:nvSpPr>
          <p:cNvPr id="15" name="Rectangle 14"/>
          <p:cNvSpPr/>
          <p:nvPr userDrawn="1"/>
        </p:nvSpPr>
        <p:spPr>
          <a:xfrm>
            <a:off x="6534482" y="2507082"/>
            <a:ext cx="2219382"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126">
              <a:lnSpc>
                <a:spcPts val="1999"/>
              </a:lnSpc>
            </a:pPr>
            <a:r>
              <a:rPr lang="en-US" sz="1400" dirty="0">
                <a:solidFill>
                  <a:srgbClr val="2B143D"/>
                </a:solidFill>
              </a:rPr>
              <a:t>About Capgemini</a:t>
            </a:r>
          </a:p>
        </p:txBody>
      </p:sp>
      <p:pic>
        <p:nvPicPr>
          <p:cNvPr id="17" name="Picture 2" descr="D:\My Work\Template\Icons\Social Media\LinkedIN.png">
            <a:hlinkClick r:id="rId7"/>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798208" y="3979258"/>
            <a:ext cx="333108" cy="333195"/>
          </a:xfrm>
          <a:prstGeom prst="rect">
            <a:avLst/>
          </a:prstGeom>
          <a:noFill/>
        </p:spPr>
      </p:pic>
      <p:pic>
        <p:nvPicPr>
          <p:cNvPr id="18" name="Picture 4" descr="D:\My Work\Template\Icons\Social Media\SlideShare.png">
            <a:hlinkClick r:id="rId9"/>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1181485" y="3979258"/>
            <a:ext cx="333108" cy="333195"/>
          </a:xfrm>
          <a:prstGeom prst="rect">
            <a:avLst/>
          </a:prstGeom>
          <a:noFill/>
        </p:spPr>
      </p:pic>
      <p:pic>
        <p:nvPicPr>
          <p:cNvPr id="19" name="Picture 5" descr="D:\My Work\Template\Icons\Social Media\Twitter.png">
            <a:hlinkClick r:id="rId11"/>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564762" y="3979258"/>
            <a:ext cx="333108" cy="333195"/>
          </a:xfrm>
          <a:prstGeom prst="rect">
            <a:avLst/>
          </a:prstGeom>
          <a:noFill/>
        </p:spPr>
      </p:pic>
      <p:pic>
        <p:nvPicPr>
          <p:cNvPr id="20" name="Picture 6" descr="D:\My Work\Template\Icons\Social Media\YouTube.png">
            <a:hlinkClick r:id="rId13"/>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948038" y="3979258"/>
            <a:ext cx="333108" cy="333195"/>
          </a:xfrm>
          <a:prstGeom prst="rect">
            <a:avLst/>
          </a:prstGeom>
          <a:noFill/>
        </p:spPr>
      </p:pic>
      <p:pic>
        <p:nvPicPr>
          <p:cNvPr id="21" name="Picture 7" descr="D:\My Work\Template\Icons\Social Media\Facebook.png">
            <a:hlinkClick r:id="rId15"/>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414931" y="3979258"/>
            <a:ext cx="333108" cy="333195"/>
          </a:xfrm>
          <a:prstGeom prst="rect">
            <a:avLst/>
          </a:prstGeom>
          <a:noFill/>
        </p:spPr>
      </p:pic>
      <p:sp>
        <p:nvSpPr>
          <p:cNvPr id="23" name="Rectangle 22"/>
          <p:cNvSpPr/>
          <p:nvPr userDrawn="1"/>
        </p:nvSpPr>
        <p:spPr>
          <a:xfrm>
            <a:off x="414930" y="5640914"/>
            <a:ext cx="4197527" cy="569387"/>
          </a:xfrm>
          <a:prstGeom prst="rect">
            <a:avLst/>
          </a:prstGeom>
        </p:spPr>
        <p:txBody>
          <a:bodyPr wrap="square" lIns="0" tIns="0" rIns="0" bIns="0" anchor="b" anchorCtr="0">
            <a:spAutoFit/>
          </a:bodyPr>
          <a:lstStyle/>
          <a:p>
            <a:pPr defTabSz="914126">
              <a:spcAft>
                <a:spcPts val="600"/>
              </a:spcAft>
            </a:pPr>
            <a:r>
              <a:rPr lang="en-US" sz="800" dirty="0">
                <a:solidFill>
                  <a:srgbClr val="FFFFFF"/>
                </a:solidFill>
                <a:cs typeface="Arial"/>
              </a:rPr>
              <a:t>This message contains information that may be privileged or confidential and is the property of the Capgemini Group.</a:t>
            </a:r>
            <a:br>
              <a:rPr lang="en-US" sz="800" dirty="0">
                <a:solidFill>
                  <a:srgbClr val="FFFFFF"/>
                </a:solidFill>
                <a:cs typeface="Arial"/>
              </a:rPr>
            </a:br>
            <a:r>
              <a:rPr lang="en-US" sz="800" dirty="0">
                <a:solidFill>
                  <a:srgbClr val="FFFFFF"/>
                </a:solidFill>
                <a:latin typeface="Arial"/>
                <a:cs typeface="Arial"/>
              </a:rPr>
              <a:t>Copyright © 2018 Capgemini. All rights reserved.</a:t>
            </a:r>
          </a:p>
          <a:p>
            <a:pPr defTabSz="957469">
              <a:spcAft>
                <a:spcPts val="600"/>
              </a:spcAft>
              <a:defRPr/>
            </a:pPr>
            <a:r>
              <a:rPr lang="en-US" sz="800" dirty="0">
                <a:solidFill>
                  <a:srgbClr val="FFFFFF"/>
                </a:solidFill>
                <a:latin typeface="Arial"/>
                <a:cs typeface="Arial"/>
              </a:rPr>
              <a:t>Rightshore</a:t>
            </a:r>
            <a:r>
              <a:rPr lang="en-US" sz="800" baseline="30000" dirty="0">
                <a:solidFill>
                  <a:srgbClr val="FFFFFF"/>
                </a:solidFill>
                <a:latin typeface="Arial"/>
                <a:cs typeface="Arial"/>
              </a:rPr>
              <a:t>®</a:t>
            </a:r>
            <a:r>
              <a:rPr lang="en-US" sz="800" dirty="0">
                <a:solidFill>
                  <a:srgbClr val="FFFFFF"/>
                </a:solidFill>
                <a:latin typeface="Arial"/>
                <a:cs typeface="Arial"/>
              </a:rPr>
              <a:t> is a trademark belonging to Capgemini.</a:t>
            </a:r>
          </a:p>
        </p:txBody>
      </p:sp>
      <p:sp>
        <p:nvSpPr>
          <p:cNvPr id="24" name="Rectangle 23"/>
          <p:cNvSpPr/>
          <p:nvPr userDrawn="1"/>
        </p:nvSpPr>
        <p:spPr>
          <a:xfrm>
            <a:off x="6534482" y="5933303"/>
            <a:ext cx="5218340" cy="276999"/>
          </a:xfrm>
          <a:prstGeom prst="rect">
            <a:avLst/>
          </a:prstGeom>
        </p:spPr>
        <p:txBody>
          <a:bodyPr wrap="square" lIns="0" tIns="0" rIns="0" bIns="0" anchor="b" anchorCtr="0">
            <a:spAutoFit/>
          </a:bodyPr>
          <a:lstStyle/>
          <a:p>
            <a:pPr defTabSz="914126">
              <a:spcAft>
                <a:spcPts val="600"/>
              </a:spcAft>
            </a:pPr>
            <a:r>
              <a:rPr lang="en-US" sz="600" dirty="0">
                <a:solidFill>
                  <a:prstClr val="black"/>
                </a:solidFill>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07466" y="4434172"/>
            <a:ext cx="2559653" cy="201012"/>
          </a:xfrm>
          <a:prstGeom prst="rect">
            <a:avLst/>
          </a:prstGeom>
        </p:spPr>
      </p:pic>
      <p:pic>
        <p:nvPicPr>
          <p:cNvPr id="2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18">
            <a:extLst>
              <a:ext uri="{96DAC541-7B7A-43D3-8B79-37D633B846F1}">
                <asvg:svgBlip xmlns:asvg="http://schemas.microsoft.com/office/drawing/2016/SVG/main" xmlns="" r:embed="rId19"/>
              </a:ext>
            </a:extLst>
          </a:blip>
          <a:srcRect l="81836" t="-4713" b="16530"/>
          <a:stretch/>
        </p:blipFill>
        <p:spPr>
          <a:xfrm>
            <a:off x="11544786" y="188640"/>
            <a:ext cx="424245" cy="459624"/>
          </a:xfrm>
          <a:prstGeom prst="rect">
            <a:avLst/>
          </a:prstGeom>
        </p:spPr>
      </p:pic>
    </p:spTree>
    <p:extLst>
      <p:ext uri="{BB962C8B-B14F-4D97-AF65-F5344CB8AC3E}">
        <p14:creationId xmlns:p14="http://schemas.microsoft.com/office/powerpoint/2010/main" val="27948177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7982" y="6356353"/>
            <a:ext cx="2742486" cy="365125"/>
          </a:xfrm>
          <a:prstGeom prst="rect">
            <a:avLst/>
          </a:prstGeom>
        </p:spPr>
        <p:txBody>
          <a:bodyPr/>
          <a:lstStyle/>
          <a:p>
            <a:fld id="{64578F15-8CA8-451A-8BE5-D040AF3525E5}" type="datetimeFigureOut">
              <a:rPr lang="en-US">
                <a:solidFill>
                  <a:srgbClr val="0070AD"/>
                </a:solidFill>
              </a:rPr>
              <a:pPr/>
              <a:t>12/4/2019</a:t>
            </a:fld>
            <a:endParaRPr lang="en-US" dirty="0">
              <a:solidFill>
                <a:srgbClr val="0070AD"/>
              </a:solidFill>
            </a:endParaRPr>
          </a:p>
        </p:txBody>
      </p:sp>
      <p:sp>
        <p:nvSpPr>
          <p:cNvPr id="5" name="Footer Placeholder 4"/>
          <p:cNvSpPr>
            <a:spLocks noGrp="1"/>
          </p:cNvSpPr>
          <p:nvPr>
            <p:ph type="ftr" sz="quarter" idx="11"/>
          </p:nvPr>
        </p:nvSpPr>
        <p:spPr>
          <a:xfrm>
            <a:off x="4037549" y="6356353"/>
            <a:ext cx="4113728" cy="365125"/>
          </a:xfrm>
          <a:prstGeom prst="rect">
            <a:avLst/>
          </a:prstGeom>
        </p:spPr>
        <p:txBody>
          <a:bodyPr/>
          <a:lstStyle/>
          <a:p>
            <a:endParaRPr lang="en-US" dirty="0">
              <a:solidFill>
                <a:srgbClr val="E6E7E7">
                  <a:lumMod val="50000"/>
                </a:srgbClr>
              </a:solidFill>
            </a:endParaRPr>
          </a:p>
        </p:txBody>
      </p:sp>
      <p:sp>
        <p:nvSpPr>
          <p:cNvPr id="6" name="Slide Number Placeholder 5"/>
          <p:cNvSpPr>
            <a:spLocks noGrp="1"/>
          </p:cNvSpPr>
          <p:nvPr>
            <p:ph type="sldNum" sz="quarter" idx="12"/>
          </p:nvPr>
        </p:nvSpPr>
        <p:spPr>
          <a:xfrm>
            <a:off x="8608357" y="6356353"/>
            <a:ext cx="2742486" cy="365125"/>
          </a:xfrm>
          <a:prstGeom prst="rect">
            <a:avLst/>
          </a:prstGeom>
        </p:spPr>
        <p:txBody>
          <a:bodyPr/>
          <a:lstStyle/>
          <a:p>
            <a:fld id="{01517FAB-9F2A-4652-ABD4-A0B08D06F8E2}" type="slidenum">
              <a:rPr lang="en-US">
                <a:solidFill>
                  <a:srgbClr val="E6E7E7">
                    <a:lumMod val="50000"/>
                  </a:srgbClr>
                </a:solidFill>
              </a:rPr>
              <a:pPr/>
              <a:t>‹#›</a:t>
            </a:fld>
            <a:endParaRPr lang="en-US" dirty="0">
              <a:solidFill>
                <a:srgbClr val="E6E7E7">
                  <a:lumMod val="50000"/>
                </a:srgbClr>
              </a:solidFill>
            </a:endParaRPr>
          </a:p>
        </p:txBody>
      </p:sp>
    </p:spTree>
    <p:extLst>
      <p:ext uri="{BB962C8B-B14F-4D97-AF65-F5344CB8AC3E}">
        <p14:creationId xmlns:p14="http://schemas.microsoft.com/office/powerpoint/2010/main" val="30221284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2"/>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 xmlns:a16="http://schemas.microsoft.com/office/drawing/2014/main" id="{61C6E3C8-A4B6-4B36-B825-E6B8644DC952}"/>
              </a:ext>
            </a:extLst>
          </p:cNvPr>
          <p:cNvPicPr preferRelativeResize="0">
            <a:picLocks/>
          </p:cNvPicPr>
          <p:nvPr userDrawn="1"/>
        </p:nvPicPr>
        <p:blipFill rotWithShape="1">
          <a:blip r:embed="rId2"/>
          <a:srcRect b="231"/>
          <a:stretch/>
        </p:blipFill>
        <p:spPr>
          <a:xfrm>
            <a:off x="2" y="0"/>
            <a:ext cx="12249170" cy="6858000"/>
          </a:xfrm>
          <a:prstGeom prst="rect">
            <a:avLst/>
          </a:prstGeom>
        </p:spPr>
      </p:pic>
      <p:sp>
        <p:nvSpPr>
          <p:cNvPr id="11" name="Title 1"/>
          <p:cNvSpPr>
            <a:spLocks noGrp="1"/>
          </p:cNvSpPr>
          <p:nvPr>
            <p:ph type="ctrTitle" hasCustomPrompt="1"/>
          </p:nvPr>
        </p:nvSpPr>
        <p:spPr>
          <a:xfrm>
            <a:off x="407882" y="731062"/>
            <a:ext cx="5542548" cy="897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lvl1pPr>
              <a:lnSpc>
                <a:spcPts val="2999"/>
              </a:lnSpc>
              <a:defRPr lang="en-US" sz="2599" b="0" dirty="0">
                <a:solidFill>
                  <a:schemeClr val="accent1"/>
                </a:solidFill>
              </a:defRPr>
            </a:lvl1pPr>
          </a:lstStyle>
          <a:p>
            <a:pPr marL="0" lvl="0"/>
            <a:r>
              <a:rPr lang="en-US" noProof="0" dirty="0"/>
              <a:t>Click to insert title</a:t>
            </a:r>
          </a:p>
        </p:txBody>
      </p:sp>
      <p:sp>
        <p:nvSpPr>
          <p:cNvPr id="12" name="Subtitle 2"/>
          <p:cNvSpPr>
            <a:spLocks noGrp="1"/>
          </p:cNvSpPr>
          <p:nvPr>
            <p:ph type="subTitle" idx="1" hasCustomPrompt="1"/>
          </p:nvPr>
        </p:nvSpPr>
        <p:spPr>
          <a:xfrm>
            <a:off x="412183" y="1862688"/>
            <a:ext cx="5538247" cy="534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126" rtl="0" eaLnBrk="1" fontAlgn="auto" latinLnBrk="0" hangingPunct="1">
              <a:lnSpc>
                <a:spcPts val="1799"/>
              </a:lnSpc>
              <a:spcBef>
                <a:spcPts val="600"/>
              </a:spcBef>
              <a:spcAft>
                <a:spcPts val="0"/>
              </a:spcAft>
              <a:buClrTx/>
              <a:buSzTx/>
              <a:buFont typeface="Arial" panose="020B0604020202020204" pitchFamily="34" charset="0"/>
              <a:buNone/>
              <a:tabLst/>
              <a:defRPr lang="en-US" sz="1600" dirty="0">
                <a:solidFill>
                  <a:schemeClr val="accent2"/>
                </a:solidFill>
              </a:defRPr>
            </a:lvl1pPr>
          </a:lstStyle>
          <a:p>
            <a:pPr marL="0" lvl="0"/>
            <a:r>
              <a:rPr lang="en-US" noProof="0"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407882" y="6101473"/>
            <a:ext cx="2285405" cy="510013"/>
          </a:xfrm>
          <a:prstGeom prst="rect">
            <a:avLst/>
          </a:prstGeom>
        </p:spPr>
      </p:pic>
      <p:sp>
        <p:nvSpPr>
          <p:cNvPr id="10" name="Freeform 7"/>
          <p:cNvSpPr>
            <a:spLocks/>
          </p:cNvSpPr>
          <p:nvPr userDrawn="1"/>
        </p:nvSpPr>
        <p:spPr bwMode="auto">
          <a:xfrm>
            <a:off x="9516171" y="6842126"/>
            <a:ext cx="107922"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endParaRPr>
          </a:p>
        </p:txBody>
      </p:sp>
      <p:pic>
        <p:nvPicPr>
          <p:cNvPr id="13" name="Image 12">
            <a:extLst>
              <a:ext uri="{FF2B5EF4-FFF2-40B4-BE49-F238E27FC236}">
                <a16:creationId xmlns="" xmlns:a16="http://schemas.microsoft.com/office/drawing/2014/main" id="{EE15382D-D637-4063-B3D0-7DD646E6F04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070780" y="3675653"/>
            <a:ext cx="2622948" cy="672727"/>
          </a:xfrm>
          <a:prstGeom prst="rect">
            <a:avLst/>
          </a:prstGeom>
        </p:spPr>
      </p:pic>
    </p:spTree>
    <p:extLst>
      <p:ext uri="{BB962C8B-B14F-4D97-AF65-F5344CB8AC3E}">
        <p14:creationId xmlns:p14="http://schemas.microsoft.com/office/powerpoint/2010/main" val="10548805"/>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1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11" name="Freeform 5"/>
          <p:cNvSpPr>
            <a:spLocks/>
          </p:cNvSpPr>
          <p:nvPr userDrawn="1"/>
        </p:nvSpPr>
        <p:spPr bwMode="auto">
          <a:xfrm>
            <a:off x="1" y="2276840"/>
            <a:ext cx="5475376" cy="458116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accent5"/>
          </a:solidFill>
          <a:ln>
            <a:noFill/>
          </a:ln>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endParaRPr>
          </a:p>
        </p:txBody>
      </p:sp>
      <p:sp>
        <p:nvSpPr>
          <p:cNvPr id="18" name="Title 17"/>
          <p:cNvSpPr>
            <a:spLocks noGrp="1"/>
          </p:cNvSpPr>
          <p:nvPr>
            <p:ph type="title" hasCustomPrompt="1"/>
          </p:nvPr>
        </p:nvSpPr>
        <p:spPr/>
        <p:txBody>
          <a:bodyPr/>
          <a:lstStyle>
            <a:lvl1pPr>
              <a:defRPr>
                <a:solidFill>
                  <a:schemeClr val="accent1"/>
                </a:solidFill>
              </a:defRPr>
            </a:lvl1pPr>
          </a:lstStyle>
          <a:p>
            <a:r>
              <a:rPr lang="en-US" noProof="0"/>
              <a:t>Click to edit Master title style</a:t>
            </a:r>
          </a:p>
        </p:txBody>
      </p:sp>
      <p:cxnSp>
        <p:nvCxnSpPr>
          <p:cNvPr id="32"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11565747"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4" name="Text Placeholder 23"/>
          <p:cNvSpPr>
            <a:spLocks noGrp="1"/>
          </p:cNvSpPr>
          <p:nvPr>
            <p:ph type="body" sz="quarter" idx="24" hasCustomPrompt="1"/>
          </p:nvPr>
        </p:nvSpPr>
        <p:spPr>
          <a:xfrm>
            <a:off x="6238838" y="1412876"/>
            <a:ext cx="5542106"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Date Placeholder 24"/>
          <p:cNvSpPr>
            <a:spLocks noGrp="1"/>
          </p:cNvSpPr>
          <p:nvPr>
            <p:ph type="dt" sz="half" idx="25"/>
          </p:nvPr>
        </p:nvSpPr>
        <p:spPr/>
        <p:txBody>
          <a:bodyPr/>
          <a:lstStyle/>
          <a:p>
            <a:pPr>
              <a:lnSpc>
                <a:spcPct val="85000"/>
              </a:lnSpc>
            </a:pPr>
            <a:r>
              <a:rPr lang="en-US" dirty="0">
                <a:solidFill>
                  <a:srgbClr val="0070AD"/>
                </a:solidFill>
              </a:rPr>
              <a:t>Group IT Project Charter Template v14.1 | 01/05/2018</a:t>
            </a:r>
          </a:p>
        </p:txBody>
      </p:sp>
      <p:sp>
        <p:nvSpPr>
          <p:cNvPr id="26" name="Footer Placeholder 25"/>
          <p:cNvSpPr>
            <a:spLocks noGrp="1"/>
          </p:cNvSpPr>
          <p:nvPr>
            <p:ph type="ftr" sz="quarter" idx="26"/>
          </p:nvPr>
        </p:nvSpPr>
        <p:spPr/>
        <p:txBody>
          <a:bodyPr/>
          <a:lstStyle/>
          <a:p>
            <a:r>
              <a:rPr lang="en-US" dirty="0">
                <a:solidFill>
                  <a:srgbClr val="E6E7E7">
                    <a:lumMod val="50000"/>
                  </a:srgbClr>
                </a:solidFill>
              </a:rPr>
              <a:t>© 2018 Capgemini. All rights reserved.</a:t>
            </a:r>
          </a:p>
        </p:txBody>
      </p:sp>
      <p:sp>
        <p:nvSpPr>
          <p:cNvPr id="27" name="Slide Number Placeholder 26"/>
          <p:cNvSpPr>
            <a:spLocks noGrp="1"/>
          </p:cNvSpPr>
          <p:nvPr>
            <p:ph type="sldNum" sz="quarter" idx="27"/>
          </p:nvPr>
        </p:nvSpPr>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spTree>
    <p:extLst>
      <p:ext uri="{BB962C8B-B14F-4D97-AF65-F5344CB8AC3E}">
        <p14:creationId xmlns:p14="http://schemas.microsoft.com/office/powerpoint/2010/main" val="40903520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pic>
        <p:nvPicPr>
          <p:cNvPr id="12" name="Graphic 11">
            <a:extLst>
              <a:ext uri="{FF2B5EF4-FFF2-40B4-BE49-F238E27FC236}">
                <a16:creationId xmlns="" xmlns:a16="http://schemas.microsoft.com/office/drawing/2014/main" id="{10113F8D-52D8-4246-B9BC-1A6D3EF8C72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b="25000"/>
          <a:stretch>
            <a:fillRect/>
          </a:stretch>
        </p:blipFill>
        <p:spPr>
          <a:xfrm>
            <a:off x="0" y="1485900"/>
            <a:ext cx="6421425"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 xmlns:a16="http://schemas.microsoft.com/office/drawing/2014/main" id="{3E908611-FBB7-4987-BE0F-F09EAF1FFC80}"/>
              </a:ext>
            </a:extLst>
          </p:cNvPr>
          <p:cNvSpPr>
            <a:spLocks noGrp="1"/>
          </p:cNvSpPr>
          <p:nvPr>
            <p:ph type="body" sz="quarter" idx="11" hasCustomPrompt="1"/>
          </p:nvPr>
        </p:nvSpPr>
        <p:spPr>
          <a:xfrm>
            <a:off x="8073510" y="1268413"/>
            <a:ext cx="3707435"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noProof="0"/>
              <a:t>Click to insert text</a:t>
            </a:r>
          </a:p>
        </p:txBody>
      </p:sp>
      <p:sp>
        <p:nvSpPr>
          <p:cNvPr id="40" name="Text Placeholder 7">
            <a:extLst>
              <a:ext uri="{FF2B5EF4-FFF2-40B4-BE49-F238E27FC236}">
                <a16:creationId xmlns="" xmlns:a16="http://schemas.microsoft.com/office/drawing/2014/main" id="{306025B9-0362-4974-8920-7C764289CBA0}"/>
              </a:ext>
            </a:extLst>
          </p:cNvPr>
          <p:cNvSpPr>
            <a:spLocks noGrp="1"/>
          </p:cNvSpPr>
          <p:nvPr>
            <p:ph type="body" sz="quarter" idx="12" hasCustomPrompt="1"/>
          </p:nvPr>
        </p:nvSpPr>
        <p:spPr>
          <a:xfrm>
            <a:off x="8073510" y="1927538"/>
            <a:ext cx="3707435" cy="555448"/>
          </a:xfrm>
          <a:prstGeom prst="rect">
            <a:avLst/>
          </a:prstGeom>
        </p:spPr>
        <p:txBody>
          <a:bodyPr anchor="ctr">
            <a:noAutofit/>
          </a:bodyPr>
          <a:lstStyle>
            <a:lvl1pPr marL="0" marR="0" indent="0" algn="l" defTabSz="914126"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126"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noProof="0"/>
              <a:t>Click to insert text</a:t>
            </a:r>
          </a:p>
        </p:txBody>
      </p:sp>
      <p:sp>
        <p:nvSpPr>
          <p:cNvPr id="41" name="Text Placeholder 7">
            <a:extLst>
              <a:ext uri="{FF2B5EF4-FFF2-40B4-BE49-F238E27FC236}">
                <a16:creationId xmlns="" xmlns:a16="http://schemas.microsoft.com/office/drawing/2014/main" id="{257644F2-F28D-4087-B791-1E7F26C4AD1C}"/>
              </a:ext>
            </a:extLst>
          </p:cNvPr>
          <p:cNvSpPr>
            <a:spLocks noGrp="1"/>
          </p:cNvSpPr>
          <p:nvPr>
            <p:ph type="body" sz="quarter" idx="13" hasCustomPrompt="1"/>
          </p:nvPr>
        </p:nvSpPr>
        <p:spPr>
          <a:xfrm>
            <a:off x="8073510" y="2586663"/>
            <a:ext cx="3707435"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noProof="0"/>
              <a:t>Click to insert text</a:t>
            </a:r>
          </a:p>
        </p:txBody>
      </p:sp>
      <p:sp>
        <p:nvSpPr>
          <p:cNvPr id="42" name="Text Placeholder 7">
            <a:extLst>
              <a:ext uri="{FF2B5EF4-FFF2-40B4-BE49-F238E27FC236}">
                <a16:creationId xmlns="" xmlns:a16="http://schemas.microsoft.com/office/drawing/2014/main" id="{25F62A33-F672-4099-9B72-9B2267F22ACF}"/>
              </a:ext>
            </a:extLst>
          </p:cNvPr>
          <p:cNvSpPr>
            <a:spLocks noGrp="1"/>
          </p:cNvSpPr>
          <p:nvPr>
            <p:ph type="body" sz="quarter" idx="14" hasCustomPrompt="1"/>
          </p:nvPr>
        </p:nvSpPr>
        <p:spPr>
          <a:xfrm>
            <a:off x="8073510" y="3245788"/>
            <a:ext cx="3707435"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noProof="0"/>
              <a:t>Click to insert text</a:t>
            </a:r>
          </a:p>
        </p:txBody>
      </p:sp>
      <p:sp>
        <p:nvSpPr>
          <p:cNvPr id="43" name="Text Placeholder 7">
            <a:extLst>
              <a:ext uri="{FF2B5EF4-FFF2-40B4-BE49-F238E27FC236}">
                <a16:creationId xmlns="" xmlns:a16="http://schemas.microsoft.com/office/drawing/2014/main" id="{72FF6EE1-C46D-4DEB-A508-49B5101CF26E}"/>
              </a:ext>
            </a:extLst>
          </p:cNvPr>
          <p:cNvSpPr>
            <a:spLocks noGrp="1"/>
          </p:cNvSpPr>
          <p:nvPr>
            <p:ph type="body" sz="quarter" idx="15" hasCustomPrompt="1"/>
          </p:nvPr>
        </p:nvSpPr>
        <p:spPr>
          <a:xfrm>
            <a:off x="8073510" y="3904913"/>
            <a:ext cx="3707435"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noProof="0"/>
              <a:t>Click to insert text</a:t>
            </a:r>
          </a:p>
        </p:txBody>
      </p:sp>
      <p:sp>
        <p:nvSpPr>
          <p:cNvPr id="44" name="Text Placeholder 7">
            <a:extLst>
              <a:ext uri="{FF2B5EF4-FFF2-40B4-BE49-F238E27FC236}">
                <a16:creationId xmlns="" xmlns:a16="http://schemas.microsoft.com/office/drawing/2014/main" id="{931D06D9-EA9B-42A0-81EE-D669D6CA5F33}"/>
              </a:ext>
            </a:extLst>
          </p:cNvPr>
          <p:cNvSpPr>
            <a:spLocks noGrp="1"/>
          </p:cNvSpPr>
          <p:nvPr>
            <p:ph type="body" sz="quarter" idx="16" hasCustomPrompt="1"/>
          </p:nvPr>
        </p:nvSpPr>
        <p:spPr>
          <a:xfrm>
            <a:off x="8073510" y="4564038"/>
            <a:ext cx="3707435"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noProof="0"/>
              <a:t>Click to insert text</a:t>
            </a:r>
          </a:p>
        </p:txBody>
      </p:sp>
      <p:sp>
        <p:nvSpPr>
          <p:cNvPr id="45" name="Text Placeholder 7">
            <a:extLst>
              <a:ext uri="{FF2B5EF4-FFF2-40B4-BE49-F238E27FC236}">
                <a16:creationId xmlns="" xmlns:a16="http://schemas.microsoft.com/office/drawing/2014/main" id="{EFEA829A-6217-4965-B7BD-6BC37F7849AB}"/>
              </a:ext>
            </a:extLst>
          </p:cNvPr>
          <p:cNvSpPr>
            <a:spLocks noGrp="1"/>
          </p:cNvSpPr>
          <p:nvPr>
            <p:ph type="body" sz="quarter" idx="17" hasCustomPrompt="1"/>
          </p:nvPr>
        </p:nvSpPr>
        <p:spPr>
          <a:xfrm>
            <a:off x="8073510" y="5223163"/>
            <a:ext cx="3707435"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noProof="0"/>
              <a:t>Click to insert text</a:t>
            </a:r>
          </a:p>
        </p:txBody>
      </p:sp>
      <p:sp>
        <p:nvSpPr>
          <p:cNvPr id="46" name="Text Placeholder 7">
            <a:extLst>
              <a:ext uri="{FF2B5EF4-FFF2-40B4-BE49-F238E27FC236}">
                <a16:creationId xmlns="" xmlns:a16="http://schemas.microsoft.com/office/drawing/2014/main" id="{E05DDB93-91CA-4BAF-9D63-E4134B435D8F}"/>
              </a:ext>
            </a:extLst>
          </p:cNvPr>
          <p:cNvSpPr>
            <a:spLocks noGrp="1"/>
          </p:cNvSpPr>
          <p:nvPr>
            <p:ph type="body" sz="quarter" idx="18" hasCustomPrompt="1"/>
          </p:nvPr>
        </p:nvSpPr>
        <p:spPr>
          <a:xfrm>
            <a:off x="8073510" y="5882286"/>
            <a:ext cx="3707435"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noProof="0"/>
              <a:t>Click to insert text</a:t>
            </a:r>
          </a:p>
        </p:txBody>
      </p:sp>
      <p:sp>
        <p:nvSpPr>
          <p:cNvPr id="13"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35113" y="116540"/>
            <a:ext cx="11013735" cy="863600"/>
          </a:xfrm>
          <a:prstGeom prst="rect">
            <a:avLst/>
          </a:prstGeom>
        </p:spPr>
        <p:txBody>
          <a:bodyPr vert="horz" lIns="0" tIns="0" rIns="0" bIns="0" rtlCol="0" anchor="t">
            <a:normAutofit/>
          </a:bodyPr>
          <a:lstStyle>
            <a:lvl1pPr>
              <a:defRPr lang="pt-PT" dirty="0">
                <a:solidFill>
                  <a:schemeClr val="accent1"/>
                </a:solidFill>
              </a:defRPr>
            </a:lvl1pPr>
          </a:lstStyle>
          <a:p>
            <a:pPr lvl="0">
              <a:lnSpc>
                <a:spcPts val="2999"/>
              </a:lnSpc>
            </a:pPr>
            <a:r>
              <a:rPr lang="en-US" noProof="0" dirty="0"/>
              <a:t>Click to add title</a:t>
            </a:r>
          </a:p>
        </p:txBody>
      </p:sp>
      <p:sp>
        <p:nvSpPr>
          <p:cNvPr id="19" name="Date Placeholder 24">
            <a:extLst>
              <a:ext uri="{FF2B5EF4-FFF2-40B4-BE49-F238E27FC236}">
                <a16:creationId xmlns="" xmlns:a16="http://schemas.microsoft.com/office/drawing/2014/main" id="{5B88CED3-7AE8-4789-8960-785F8CCFE6FE}"/>
              </a:ext>
            </a:extLst>
          </p:cNvPr>
          <p:cNvSpPr>
            <a:spLocks noGrp="1"/>
          </p:cNvSpPr>
          <p:nvPr>
            <p:ph type="dt" sz="half" idx="25"/>
          </p:nvPr>
        </p:nvSpPr>
        <p:spPr>
          <a:xfrm>
            <a:off x="407882" y="6555971"/>
            <a:ext cx="2828270" cy="219456"/>
          </a:xfrm>
        </p:spPr>
        <p:txBody>
          <a:bodyPr/>
          <a:lstStyle/>
          <a:p>
            <a:pPr>
              <a:lnSpc>
                <a:spcPct val="85000"/>
              </a:lnSpc>
            </a:pPr>
            <a:r>
              <a:rPr lang="en-US" dirty="0">
                <a:solidFill>
                  <a:srgbClr val="0070AD"/>
                </a:solidFill>
              </a:rPr>
              <a:t>Group IT Project Charter Template v14.1 | 01/05/2018</a:t>
            </a:r>
          </a:p>
        </p:txBody>
      </p:sp>
      <p:sp>
        <p:nvSpPr>
          <p:cNvPr id="20" name="Footer Placeholder 25">
            <a:extLst>
              <a:ext uri="{FF2B5EF4-FFF2-40B4-BE49-F238E27FC236}">
                <a16:creationId xmlns="" xmlns:a16="http://schemas.microsoft.com/office/drawing/2014/main" id="{BE045793-C7F8-419B-9875-3FE2A4B41A99}"/>
              </a:ext>
            </a:extLst>
          </p:cNvPr>
          <p:cNvSpPr>
            <a:spLocks noGrp="1"/>
          </p:cNvSpPr>
          <p:nvPr>
            <p:ph type="ftr" sz="quarter" idx="26"/>
          </p:nvPr>
        </p:nvSpPr>
        <p:spPr>
          <a:xfrm>
            <a:off x="9321679" y="6555758"/>
            <a:ext cx="2223107" cy="219456"/>
          </a:xfrm>
        </p:spPr>
        <p:txBody>
          <a:bodyPr/>
          <a:lstStyle/>
          <a:p>
            <a:r>
              <a:rPr lang="en-US" dirty="0">
                <a:solidFill>
                  <a:srgbClr val="E6E7E7">
                    <a:lumMod val="50000"/>
                  </a:srgbClr>
                </a:solidFill>
              </a:rPr>
              <a:t>© 2018 Capgemini. All rights reserved.</a:t>
            </a:r>
          </a:p>
        </p:txBody>
      </p:sp>
      <p:sp>
        <p:nvSpPr>
          <p:cNvPr id="21" name="Slide Number Placeholder 26">
            <a:extLst>
              <a:ext uri="{FF2B5EF4-FFF2-40B4-BE49-F238E27FC236}">
                <a16:creationId xmlns="" xmlns:a16="http://schemas.microsoft.com/office/drawing/2014/main" id="{95B62654-C51F-41B1-809E-14C75D877C87}"/>
              </a:ext>
            </a:extLst>
          </p:cNvPr>
          <p:cNvSpPr>
            <a:spLocks noGrp="1"/>
          </p:cNvSpPr>
          <p:nvPr>
            <p:ph type="sldNum" sz="quarter" idx="27"/>
          </p:nvPr>
        </p:nvSpPr>
        <p:spPr>
          <a:xfrm>
            <a:off x="11780944" y="6555758"/>
            <a:ext cx="123722" cy="215444"/>
          </a:xfrm>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pic>
        <p:nvPicPr>
          <p:cNvPr id="3" name="Image 2">
            <a:extLst>
              <a:ext uri="{FF2B5EF4-FFF2-40B4-BE49-F238E27FC236}">
                <a16:creationId xmlns="" xmlns:a16="http://schemas.microsoft.com/office/drawing/2014/main" id="{4F232EBE-7D6A-4A20-A3A7-01D1444326D7}"/>
              </a:ext>
            </a:extLst>
          </p:cNvPr>
          <p:cNvPicPr>
            <a:picLocks noChangeAspect="1"/>
          </p:cNvPicPr>
          <p:nvPr userDrawn="1"/>
        </p:nvPicPr>
        <p:blipFill>
          <a:blip r:embed="rId4"/>
          <a:stretch>
            <a:fillRect/>
          </a:stretch>
        </p:blipFill>
        <p:spPr>
          <a:xfrm>
            <a:off x="767060" y="1343026"/>
            <a:ext cx="6589584" cy="5514975"/>
          </a:xfrm>
          <a:prstGeom prst="rect">
            <a:avLst/>
          </a:prstGeom>
        </p:spPr>
      </p:pic>
    </p:spTree>
    <p:extLst>
      <p:ext uri="{BB962C8B-B14F-4D97-AF65-F5344CB8AC3E}">
        <p14:creationId xmlns:p14="http://schemas.microsoft.com/office/powerpoint/2010/main" val="30579842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7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11" name="Freeform 5"/>
          <p:cNvSpPr>
            <a:spLocks/>
          </p:cNvSpPr>
          <p:nvPr userDrawn="1"/>
        </p:nvSpPr>
        <p:spPr bwMode="auto">
          <a:xfrm>
            <a:off x="1" y="2276840"/>
            <a:ext cx="5475376" cy="458116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accent5"/>
          </a:solidFill>
          <a:ln>
            <a:noFill/>
          </a:ln>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endParaRPr>
          </a:p>
        </p:txBody>
      </p:sp>
      <p:sp>
        <p:nvSpPr>
          <p:cNvPr id="18" name="Title 17"/>
          <p:cNvSpPr>
            <a:spLocks noGrp="1"/>
          </p:cNvSpPr>
          <p:nvPr>
            <p:ph type="title" hasCustomPrompt="1"/>
          </p:nvPr>
        </p:nvSpPr>
        <p:spPr/>
        <p:txBody>
          <a:bodyPr/>
          <a:lstStyle>
            <a:lvl1pPr>
              <a:defRPr>
                <a:solidFill>
                  <a:schemeClr val="accent1"/>
                </a:solidFill>
              </a:defRPr>
            </a:lvl1pPr>
          </a:lstStyle>
          <a:p>
            <a:r>
              <a:rPr lang="en-US" noProof="0"/>
              <a:t>Click to edit Master title style</a:t>
            </a:r>
          </a:p>
        </p:txBody>
      </p:sp>
      <p:cxnSp>
        <p:nvCxnSpPr>
          <p:cNvPr id="32"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11565747"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4" name="Text Placeholder 23"/>
          <p:cNvSpPr>
            <a:spLocks noGrp="1"/>
          </p:cNvSpPr>
          <p:nvPr>
            <p:ph type="body" sz="quarter" idx="24" hasCustomPrompt="1"/>
          </p:nvPr>
        </p:nvSpPr>
        <p:spPr>
          <a:xfrm>
            <a:off x="6238838" y="1412876"/>
            <a:ext cx="5542106"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Date Placeholder 24"/>
          <p:cNvSpPr>
            <a:spLocks noGrp="1"/>
          </p:cNvSpPr>
          <p:nvPr>
            <p:ph type="dt" sz="half" idx="25"/>
          </p:nvPr>
        </p:nvSpPr>
        <p:spPr/>
        <p:txBody>
          <a:bodyPr/>
          <a:lstStyle/>
          <a:p>
            <a:pPr>
              <a:lnSpc>
                <a:spcPct val="85000"/>
              </a:lnSpc>
            </a:pPr>
            <a:r>
              <a:rPr lang="en-US" dirty="0">
                <a:solidFill>
                  <a:srgbClr val="0070AD"/>
                </a:solidFill>
              </a:rPr>
              <a:t>Group IT Project Charter Template v14.1 | 01/05/2018</a:t>
            </a:r>
          </a:p>
        </p:txBody>
      </p:sp>
      <p:sp>
        <p:nvSpPr>
          <p:cNvPr id="26" name="Footer Placeholder 25"/>
          <p:cNvSpPr>
            <a:spLocks noGrp="1"/>
          </p:cNvSpPr>
          <p:nvPr>
            <p:ph type="ftr" sz="quarter" idx="26"/>
          </p:nvPr>
        </p:nvSpPr>
        <p:spPr/>
        <p:txBody>
          <a:bodyPr/>
          <a:lstStyle/>
          <a:p>
            <a:r>
              <a:rPr lang="en-US" dirty="0">
                <a:solidFill>
                  <a:srgbClr val="E6E7E7">
                    <a:lumMod val="50000"/>
                  </a:srgbClr>
                </a:solidFill>
              </a:rPr>
              <a:t>© 2018 Capgemini. All rights reserved.</a:t>
            </a:r>
          </a:p>
        </p:txBody>
      </p:sp>
      <p:sp>
        <p:nvSpPr>
          <p:cNvPr id="27" name="Slide Number Placeholder 26"/>
          <p:cNvSpPr>
            <a:spLocks noGrp="1"/>
          </p:cNvSpPr>
          <p:nvPr>
            <p:ph type="sldNum" sz="quarter" idx="27"/>
          </p:nvPr>
        </p:nvSpPr>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spTree>
    <p:extLst>
      <p:ext uri="{BB962C8B-B14F-4D97-AF65-F5344CB8AC3E}">
        <p14:creationId xmlns:p14="http://schemas.microsoft.com/office/powerpoint/2010/main" val="9856138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Click to edit Master title style</a:t>
            </a:r>
          </a:p>
        </p:txBody>
      </p:sp>
      <p:sp>
        <p:nvSpPr>
          <p:cNvPr id="6" name="Date Placeholder 5"/>
          <p:cNvSpPr>
            <a:spLocks noGrp="1"/>
          </p:cNvSpPr>
          <p:nvPr>
            <p:ph type="dt" sz="half" idx="14"/>
          </p:nvPr>
        </p:nvSpPr>
        <p:spPr>
          <a:xfrm>
            <a:off x="407881" y="6555971"/>
            <a:ext cx="3311138" cy="219456"/>
          </a:xfrm>
        </p:spPr>
        <p:txBody>
          <a:bodyPr/>
          <a:lstStyle/>
          <a:p>
            <a:pPr>
              <a:lnSpc>
                <a:spcPct val="85000"/>
              </a:lnSpc>
            </a:pPr>
            <a:r>
              <a:rPr lang="en-US" dirty="0">
                <a:solidFill>
                  <a:srgbClr val="0070AD"/>
                </a:solidFill>
              </a:rPr>
              <a:t>Group IT Project Charter Template v14.1 | 01/05/2018</a:t>
            </a:r>
          </a:p>
        </p:txBody>
      </p:sp>
      <p:sp>
        <p:nvSpPr>
          <p:cNvPr id="8" name="Footer Placeholder 7"/>
          <p:cNvSpPr>
            <a:spLocks noGrp="1"/>
          </p:cNvSpPr>
          <p:nvPr>
            <p:ph type="ftr" sz="quarter" idx="15"/>
          </p:nvPr>
        </p:nvSpPr>
        <p:spPr/>
        <p:txBody>
          <a:bodyPr/>
          <a:lstStyle/>
          <a:p>
            <a:r>
              <a:rPr lang="en-US" dirty="0">
                <a:solidFill>
                  <a:srgbClr val="E6E7E7">
                    <a:lumMod val="50000"/>
                  </a:srgbClr>
                </a:solidFill>
              </a:rPr>
              <a:t>© 2018 Capgemini. All rights reserved.</a:t>
            </a:r>
          </a:p>
        </p:txBody>
      </p:sp>
      <p:sp>
        <p:nvSpPr>
          <p:cNvPr id="9" name="Slide Number Placeholder 8"/>
          <p:cNvSpPr>
            <a:spLocks noGrp="1"/>
          </p:cNvSpPr>
          <p:nvPr>
            <p:ph type="sldNum" sz="quarter" idx="16"/>
          </p:nvPr>
        </p:nvSpPr>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sp>
        <p:nvSpPr>
          <p:cNvPr id="4" name="Espace réservé du texte 3">
            <a:extLst>
              <a:ext uri="{FF2B5EF4-FFF2-40B4-BE49-F238E27FC236}">
                <a16:creationId xmlns="" xmlns:a16="http://schemas.microsoft.com/office/drawing/2014/main" id="{41B7B491-07D0-41D9-B3E6-A2FDFD6C7B89}"/>
              </a:ext>
            </a:extLst>
          </p:cNvPr>
          <p:cNvSpPr>
            <a:spLocks noGrp="1"/>
          </p:cNvSpPr>
          <p:nvPr>
            <p:ph type="body" sz="quarter" idx="17" hasCustomPrompt="1"/>
          </p:nvPr>
        </p:nvSpPr>
        <p:spPr>
          <a:xfrm>
            <a:off x="407882" y="1412876"/>
            <a:ext cx="11014381" cy="4968875"/>
          </a:xfrm>
        </p:spPr>
        <p:txBody>
          <a:bodyPr/>
          <a:lstStyle>
            <a:lvl1pPr marL="0" marR="0" indent="0" algn="l" defTabSz="914126" rtl="0" eaLnBrk="1" fontAlgn="auto" latinLnBrk="0" hangingPunct="1">
              <a:lnSpc>
                <a:spcPct val="100000"/>
              </a:lnSpc>
              <a:spcBef>
                <a:spcPts val="600"/>
              </a:spcBef>
              <a:spcAft>
                <a:spcPts val="0"/>
              </a:spcAft>
              <a:buClrTx/>
              <a:buSzTx/>
              <a:buFont typeface="Arial" panose="020B0604020202020204" pitchFamily="34" charset="0"/>
              <a:buNone/>
              <a:tabLst/>
              <a:defRPr/>
            </a:lvl1pPr>
            <a:lvl2pPr>
              <a:defRPr/>
            </a:lvl2pPr>
            <a:lvl3pPr>
              <a:defRPr/>
            </a:lvl3pPr>
            <a:lvl4pPr>
              <a:defRPr/>
            </a:lvl4pPr>
            <a:lvl5pPr>
              <a:defRPr/>
            </a:lvl5pPr>
          </a:lstStyle>
          <a:p>
            <a:pPr marL="0" marR="0" lvl="0" indent="0" algn="l" defTabSz="914126"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noProof="0"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42885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a:t>Click to edit Master title style</a:t>
            </a:r>
          </a:p>
        </p:txBody>
      </p:sp>
      <p:sp>
        <p:nvSpPr>
          <p:cNvPr id="8" name="Text Placeholder 7"/>
          <p:cNvSpPr>
            <a:spLocks noGrp="1"/>
          </p:cNvSpPr>
          <p:nvPr>
            <p:ph type="body" sz="quarter" idx="14" hasCustomPrompt="1"/>
          </p:nvPr>
        </p:nvSpPr>
        <p:spPr>
          <a:xfrm>
            <a:off x="407882" y="980661"/>
            <a:ext cx="11373062" cy="307777"/>
          </a:xfrm>
        </p:spPr>
        <p:txBody>
          <a:bodyPr>
            <a:spAutoFit/>
          </a:bodyPr>
          <a:lstStyle>
            <a:lvl1pPr>
              <a:defRPr>
                <a:solidFill>
                  <a:schemeClr val="accent2"/>
                </a:solidFill>
              </a:defRPr>
            </a:lvl1pPr>
          </a:lstStyle>
          <a:p>
            <a:pPr lvl="0"/>
            <a:r>
              <a:rPr lang="en-US" noProof="0"/>
              <a:t>Click to edit Master text styles</a:t>
            </a:r>
          </a:p>
        </p:txBody>
      </p:sp>
      <p:sp>
        <p:nvSpPr>
          <p:cNvPr id="6" name="Date Placeholder 5"/>
          <p:cNvSpPr>
            <a:spLocks noGrp="1"/>
          </p:cNvSpPr>
          <p:nvPr>
            <p:ph type="dt" sz="half" idx="15"/>
          </p:nvPr>
        </p:nvSpPr>
        <p:spPr/>
        <p:txBody>
          <a:bodyPr/>
          <a:lstStyle/>
          <a:p>
            <a:pPr>
              <a:lnSpc>
                <a:spcPct val="85000"/>
              </a:lnSpc>
            </a:pPr>
            <a:r>
              <a:rPr lang="en-US" dirty="0">
                <a:solidFill>
                  <a:srgbClr val="0070AD"/>
                </a:solidFill>
              </a:rPr>
              <a:t>Group IT Project Charter Template v14.1 | 01/05/2018</a:t>
            </a:r>
          </a:p>
        </p:txBody>
      </p:sp>
      <p:sp>
        <p:nvSpPr>
          <p:cNvPr id="7" name="Footer Placeholder 6"/>
          <p:cNvSpPr>
            <a:spLocks noGrp="1"/>
          </p:cNvSpPr>
          <p:nvPr>
            <p:ph type="ftr" sz="quarter" idx="16"/>
          </p:nvPr>
        </p:nvSpPr>
        <p:spPr/>
        <p:txBody>
          <a:bodyPr/>
          <a:lstStyle/>
          <a:p>
            <a:r>
              <a:rPr lang="en-US" dirty="0">
                <a:solidFill>
                  <a:srgbClr val="E6E7E7">
                    <a:lumMod val="50000"/>
                  </a:srgbClr>
                </a:solidFill>
              </a:rPr>
              <a:t>© 2018 Capgemini. All rights reserved.</a:t>
            </a:r>
          </a:p>
        </p:txBody>
      </p:sp>
      <p:sp>
        <p:nvSpPr>
          <p:cNvPr id="9" name="Slide Number Placeholder 8"/>
          <p:cNvSpPr>
            <a:spLocks noGrp="1"/>
          </p:cNvSpPr>
          <p:nvPr>
            <p:ph type="sldNum" sz="quarter" idx="17"/>
          </p:nvPr>
        </p:nvSpPr>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sp>
        <p:nvSpPr>
          <p:cNvPr id="10" name="Text Placeholder 2">
            <a:extLst>
              <a:ext uri="{FF2B5EF4-FFF2-40B4-BE49-F238E27FC236}">
                <a16:creationId xmlns="" xmlns:a16="http://schemas.microsoft.com/office/drawing/2014/main" id="{D6967EC6-D3C6-4E5F-932A-BF3C73E3112C}"/>
              </a:ext>
            </a:extLst>
          </p:cNvPr>
          <p:cNvSpPr>
            <a:spLocks noGrp="1"/>
          </p:cNvSpPr>
          <p:nvPr>
            <p:ph idx="1" hasCustomPrompt="1"/>
          </p:nvPr>
        </p:nvSpPr>
        <p:spPr>
          <a:xfrm>
            <a:off x="412960" y="1556740"/>
            <a:ext cx="11367984" cy="4896448"/>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3615494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1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noProof="0"/>
              <a:t>Click to edit Master title style</a:t>
            </a:r>
          </a:p>
        </p:txBody>
      </p:sp>
      <p:sp>
        <p:nvSpPr>
          <p:cNvPr id="10" name="Date Placeholder 9"/>
          <p:cNvSpPr>
            <a:spLocks noGrp="1"/>
          </p:cNvSpPr>
          <p:nvPr>
            <p:ph type="dt" sz="half" idx="10"/>
          </p:nvPr>
        </p:nvSpPr>
        <p:spPr/>
        <p:txBody>
          <a:bodyPr/>
          <a:lstStyle>
            <a:lvl1pPr>
              <a:defRPr>
                <a:solidFill>
                  <a:schemeClr val="accent1"/>
                </a:solidFill>
              </a:defRPr>
            </a:lvl1pPr>
          </a:lstStyle>
          <a:p>
            <a:pPr>
              <a:lnSpc>
                <a:spcPct val="85000"/>
              </a:lnSpc>
            </a:pPr>
            <a:r>
              <a:rPr lang="en-US" dirty="0" smtClean="0"/>
              <a:t>Group IT Project Charter Template v14.1 | 01/05/2018</a:t>
            </a:r>
            <a:endParaRPr lang="en-US" dirty="0"/>
          </a:p>
        </p:txBody>
      </p:sp>
      <p:sp>
        <p:nvSpPr>
          <p:cNvPr id="11" name="Footer Placeholder 10"/>
          <p:cNvSpPr>
            <a:spLocks noGrp="1"/>
          </p:cNvSpPr>
          <p:nvPr>
            <p:ph type="ftr" sz="quarter" idx="11"/>
          </p:nvPr>
        </p:nvSpPr>
        <p:spPr/>
        <p:txBody>
          <a:bodyPr/>
          <a:lstStyle>
            <a:lvl1pPr>
              <a:defRPr>
                <a:solidFill>
                  <a:schemeClr val="bg1">
                    <a:lumMod val="50000"/>
                  </a:schemeClr>
                </a:solidFill>
              </a:defRPr>
            </a:lvl1pPr>
          </a:lstStyle>
          <a:p>
            <a:r>
              <a:rPr lang="en-US" dirty="0" smtClean="0"/>
              <a:t>© 2018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spTree>
    <p:extLst>
      <p:ext uri="{BB962C8B-B14F-4D97-AF65-F5344CB8AC3E}">
        <p14:creationId xmlns:p14="http://schemas.microsoft.com/office/powerpoint/2010/main" val="393628544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881" y="1932114"/>
            <a:ext cx="5542107" cy="4521074"/>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38840" y="1932114"/>
            <a:ext cx="5515007" cy="4519865"/>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881" y="1420990"/>
            <a:ext cx="5542107" cy="360000"/>
          </a:xfrm>
          <a:prstGeom prst="rect">
            <a:avLst/>
          </a:prstGeom>
        </p:spPr>
        <p:txBody>
          <a:bodyPr>
            <a:noAutofit/>
          </a:bodyPr>
          <a:lstStyle>
            <a:lvl1pPr>
              <a:lnSpc>
                <a:spcPts val="2199"/>
              </a:lnSpc>
              <a:defRPr sz="1799"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38840" y="1420990"/>
            <a:ext cx="5515007" cy="360000"/>
          </a:xfrm>
          <a:prstGeom prst="rect">
            <a:avLst/>
          </a:prstGeom>
        </p:spPr>
        <p:txBody>
          <a:bodyPr>
            <a:noAutofit/>
          </a:bodyPr>
          <a:lstStyle>
            <a:lvl1pPr>
              <a:lnSpc>
                <a:spcPts val="2199"/>
              </a:lnSpc>
              <a:defRPr sz="1799"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882" y="44530"/>
            <a:ext cx="10941746" cy="865054"/>
          </a:xfrm>
          <a:prstGeom prst="rect">
            <a:avLst/>
          </a:prstGeom>
        </p:spPr>
        <p:txBody>
          <a:bodyPr vert="horz" lIns="0" tIns="0" rIns="0" bIns="0" rtlCol="0" anchor="t">
            <a:normAutofit/>
          </a:bodyPr>
          <a:lstStyle>
            <a:lvl1pPr>
              <a:defRPr lang="pt-PT" dirty="0">
                <a:solidFill>
                  <a:schemeClr val="accent1"/>
                </a:solidFill>
              </a:defRPr>
            </a:lvl1pPr>
          </a:lstStyle>
          <a:p>
            <a:pPr lvl="0">
              <a:lnSpc>
                <a:spcPts val="2999"/>
              </a:lnSpc>
            </a:pPr>
            <a:r>
              <a:rPr lang="en-US" dirty="0"/>
              <a:t>Click to insert title</a:t>
            </a:r>
            <a:endParaRPr lang="pt-PT" dirty="0"/>
          </a:p>
        </p:txBody>
      </p:sp>
      <p:sp>
        <p:nvSpPr>
          <p:cNvPr id="5" name="Date Placeholder 4"/>
          <p:cNvSpPr>
            <a:spLocks noGrp="1"/>
          </p:cNvSpPr>
          <p:nvPr>
            <p:ph type="dt" sz="half" idx="14"/>
          </p:nvPr>
        </p:nvSpPr>
        <p:spPr/>
        <p:txBody>
          <a:bodyPr/>
          <a:lstStyle/>
          <a:p>
            <a:pPr>
              <a:lnSpc>
                <a:spcPct val="85000"/>
              </a:lnSpc>
            </a:pPr>
            <a:r>
              <a:rPr lang="en-US" dirty="0">
                <a:solidFill>
                  <a:srgbClr val="0070AD"/>
                </a:solidFill>
              </a:rPr>
              <a:t>Group IT Project Charter Template v14.1 | 01/05/2018</a:t>
            </a:r>
          </a:p>
        </p:txBody>
      </p:sp>
      <p:sp>
        <p:nvSpPr>
          <p:cNvPr id="6" name="Footer Placeholder 5"/>
          <p:cNvSpPr>
            <a:spLocks noGrp="1"/>
          </p:cNvSpPr>
          <p:nvPr>
            <p:ph type="ftr" sz="quarter" idx="15"/>
          </p:nvPr>
        </p:nvSpPr>
        <p:spPr/>
        <p:txBody>
          <a:bodyPr/>
          <a:lstStyle/>
          <a:p>
            <a:r>
              <a:rPr lang="en-US" dirty="0">
                <a:solidFill>
                  <a:srgbClr val="E6E7E7">
                    <a:lumMod val="50000"/>
                  </a:srgbClr>
                </a:solidFill>
              </a:rPr>
              <a:t>© 2018 Capgemini. All rights reserved.</a:t>
            </a:r>
          </a:p>
        </p:txBody>
      </p:sp>
      <p:sp>
        <p:nvSpPr>
          <p:cNvPr id="7" name="Slide Number Placeholder 6"/>
          <p:cNvSpPr>
            <a:spLocks noGrp="1"/>
          </p:cNvSpPr>
          <p:nvPr>
            <p:ph type="sldNum" sz="quarter" idx="16"/>
          </p:nvPr>
        </p:nvSpPr>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spTree>
    <p:extLst>
      <p:ext uri="{BB962C8B-B14F-4D97-AF65-F5344CB8AC3E}">
        <p14:creationId xmlns:p14="http://schemas.microsoft.com/office/powerpoint/2010/main" val="17675629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a:t>Click to edit Title</a:t>
            </a:r>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227291" y="2205319"/>
            <a:ext cx="3536906"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noProof="0" dirty="0"/>
              <a:t>Edit text</a:t>
            </a:r>
          </a:p>
          <a:p>
            <a:pPr lvl="1"/>
            <a:r>
              <a:rPr lang="en-US" noProof="0" dirty="0"/>
              <a:t>Edit text</a:t>
            </a:r>
          </a:p>
          <a:p>
            <a:pPr lvl="2"/>
            <a:r>
              <a:rPr lang="en-US" noProof="0" dirty="0"/>
              <a:t>Edit text</a:t>
            </a:r>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291" y="1420990"/>
            <a:ext cx="3536906"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126" rtl="0" eaLnBrk="1" latinLnBrk="0" hangingPunct="1">
              <a:lnSpc>
                <a:spcPct val="100000"/>
              </a:lnSpc>
              <a:spcBef>
                <a:spcPts val="1000"/>
              </a:spcBef>
              <a:buFont typeface="Arial" panose="020B0604020202020204" pitchFamily="34" charset="0"/>
              <a:buNone/>
            </a:pPr>
            <a:r>
              <a:rPr lang="en-US" noProof="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hasCustomPrompt="1"/>
          </p:nvPr>
        </p:nvSpPr>
        <p:spPr>
          <a:xfrm>
            <a:off x="4312235" y="2205319"/>
            <a:ext cx="3536906"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noProof="0" dirty="0"/>
              <a:t>Edit text</a:t>
            </a:r>
          </a:p>
          <a:p>
            <a:pPr lvl="1"/>
            <a:r>
              <a:rPr lang="en-US" noProof="0" dirty="0"/>
              <a:t>Edit text</a:t>
            </a:r>
          </a:p>
          <a:p>
            <a:pPr lvl="2"/>
            <a:r>
              <a:rPr lang="en-US" noProof="0" dirty="0"/>
              <a:t>Edit text</a:t>
            </a:r>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2235" y="1420990"/>
            <a:ext cx="3536906"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126" rtl="0" eaLnBrk="1" latinLnBrk="0" hangingPunct="1">
              <a:lnSpc>
                <a:spcPct val="100000"/>
              </a:lnSpc>
              <a:spcBef>
                <a:spcPts val="1000"/>
              </a:spcBef>
              <a:buFont typeface="Arial" panose="020B0604020202020204" pitchFamily="34" charset="0"/>
              <a:buNone/>
            </a:pPr>
            <a:r>
              <a:rPr lang="en-US" noProof="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hasCustomPrompt="1"/>
          </p:nvPr>
        </p:nvSpPr>
        <p:spPr>
          <a:xfrm>
            <a:off x="8381942" y="2205319"/>
            <a:ext cx="3536906"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noProof="0" dirty="0"/>
              <a:t>Edit text</a:t>
            </a:r>
          </a:p>
          <a:p>
            <a:pPr lvl="1"/>
            <a:r>
              <a:rPr lang="en-US" noProof="0" dirty="0"/>
              <a:t>Edit text</a:t>
            </a:r>
          </a:p>
          <a:p>
            <a:pPr lvl="2"/>
            <a:r>
              <a:rPr lang="en-US" noProof="0" dirty="0"/>
              <a:t>Edit text</a:t>
            </a:r>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1942" y="1420990"/>
            <a:ext cx="3536906"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126" rtl="0" eaLnBrk="1" latinLnBrk="0" hangingPunct="1">
              <a:lnSpc>
                <a:spcPct val="100000"/>
              </a:lnSpc>
              <a:spcBef>
                <a:spcPts val="1000"/>
              </a:spcBef>
              <a:buFont typeface="Arial" panose="020B0604020202020204" pitchFamily="34" charset="0"/>
              <a:buNone/>
            </a:pPr>
            <a:r>
              <a:rPr lang="en-US" noProof="0"/>
              <a:t>Click to insert title</a:t>
            </a:r>
          </a:p>
        </p:txBody>
      </p:sp>
      <p:sp>
        <p:nvSpPr>
          <p:cNvPr id="13" name="Date Placeholder 2">
            <a:extLst>
              <a:ext uri="{FF2B5EF4-FFF2-40B4-BE49-F238E27FC236}">
                <a16:creationId xmlns="" xmlns:a16="http://schemas.microsoft.com/office/drawing/2014/main" id="{9E9735CD-9A50-4BB2-AE45-691807115B01}"/>
              </a:ext>
            </a:extLst>
          </p:cNvPr>
          <p:cNvSpPr>
            <a:spLocks noGrp="1"/>
          </p:cNvSpPr>
          <p:nvPr>
            <p:ph type="dt" sz="half" idx="2"/>
          </p:nvPr>
        </p:nvSpPr>
        <p:spPr>
          <a:xfrm>
            <a:off x="407882" y="6555971"/>
            <a:ext cx="2828270" cy="219456"/>
          </a:xfrm>
          <a:prstGeom prst="rect">
            <a:avLst/>
          </a:prstGeom>
        </p:spPr>
        <p:txBody>
          <a:bodyPr wrap="square" lIns="0" tIns="0" rIns="0" bIns="0" anchor="ctr" anchorCtr="0">
            <a:noAutofit/>
          </a:bodyPr>
          <a:lstStyle>
            <a:lvl1pPr>
              <a:defRPr lang="de-DE" sz="800" kern="0" smtClean="0">
                <a:solidFill>
                  <a:schemeClr val="accent1"/>
                </a:solidFill>
                <a:latin typeface="+mj-lt"/>
                <a:cs typeface="Arial" panose="020B0604020202020204" pitchFamily="34" charset="0"/>
              </a:defRPr>
            </a:lvl1pPr>
          </a:lstStyle>
          <a:p>
            <a:pPr>
              <a:lnSpc>
                <a:spcPct val="85000"/>
              </a:lnSpc>
            </a:pPr>
            <a:r>
              <a:rPr lang="en-US" dirty="0">
                <a:solidFill>
                  <a:srgbClr val="0070AD"/>
                </a:solidFill>
              </a:rPr>
              <a:t>Group IT Project Charter Template v14.1 | 01/05/2018</a:t>
            </a:r>
          </a:p>
        </p:txBody>
      </p:sp>
      <p:sp>
        <p:nvSpPr>
          <p:cNvPr id="14" name="Footer Placeholder 3">
            <a:extLst>
              <a:ext uri="{FF2B5EF4-FFF2-40B4-BE49-F238E27FC236}">
                <a16:creationId xmlns="" xmlns:a16="http://schemas.microsoft.com/office/drawing/2014/main" id="{19FA2306-92E9-439B-B368-D591BB8DA5DC}"/>
              </a:ext>
            </a:extLst>
          </p:cNvPr>
          <p:cNvSpPr>
            <a:spLocks noGrp="1"/>
          </p:cNvSpPr>
          <p:nvPr>
            <p:ph type="ftr" sz="quarter" idx="3"/>
          </p:nvPr>
        </p:nvSpPr>
        <p:spPr>
          <a:xfrm>
            <a:off x="9321679" y="6555758"/>
            <a:ext cx="2223107"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dirty="0">
                <a:solidFill>
                  <a:srgbClr val="E6E7E7">
                    <a:lumMod val="50000"/>
                  </a:srgbClr>
                </a:solidFill>
              </a:rPr>
              <a:t>© 2018 Capgemini. All rights reserved.</a:t>
            </a:r>
          </a:p>
        </p:txBody>
      </p:sp>
      <p:sp>
        <p:nvSpPr>
          <p:cNvPr id="15" name="Slide Number Placeholder 28">
            <a:extLst>
              <a:ext uri="{FF2B5EF4-FFF2-40B4-BE49-F238E27FC236}">
                <a16:creationId xmlns="" xmlns:a16="http://schemas.microsoft.com/office/drawing/2014/main" id="{841B1608-8E7D-4981-9A30-F8B02800C563}"/>
              </a:ext>
            </a:extLst>
          </p:cNvPr>
          <p:cNvSpPr>
            <a:spLocks noGrp="1"/>
          </p:cNvSpPr>
          <p:nvPr>
            <p:ph type="sldNum" sz="quarter" idx="4"/>
          </p:nvPr>
        </p:nvSpPr>
        <p:spPr>
          <a:xfrm>
            <a:off x="11780944" y="6555758"/>
            <a:ext cx="123722"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pic>
        <p:nvPicPr>
          <p:cNvPr id="17" name="Image 16">
            <a:extLst>
              <a:ext uri="{FF2B5EF4-FFF2-40B4-BE49-F238E27FC236}">
                <a16:creationId xmlns="" xmlns:a16="http://schemas.microsoft.com/office/drawing/2014/main" id="{232F3F48-A829-4C40-9419-529436CD98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404668" y="6591202"/>
            <a:ext cx="701815" cy="180000"/>
          </a:xfrm>
          <a:prstGeom prst="rect">
            <a:avLst/>
          </a:prstGeom>
        </p:spPr>
      </p:pic>
    </p:spTree>
    <p:extLst>
      <p:ext uri="{BB962C8B-B14F-4D97-AF65-F5344CB8AC3E}">
        <p14:creationId xmlns:p14="http://schemas.microsoft.com/office/powerpoint/2010/main" val="34065156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4221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1"/>
            <a:ext cx="91975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srgbClr val="FFFFFF"/>
              </a:solidFill>
            </a:endParaRPr>
          </a:p>
        </p:txBody>
      </p:sp>
      <p:sp>
        <p:nvSpPr>
          <p:cNvPr id="21510" name="Freeform 6"/>
          <p:cNvSpPr>
            <a:spLocks/>
          </p:cNvSpPr>
          <p:nvPr userDrawn="1"/>
        </p:nvSpPr>
        <p:spPr bwMode="auto">
          <a:xfrm>
            <a:off x="0" y="0"/>
            <a:ext cx="91975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5"/>
          </a:solidFill>
          <a:ln w="9525">
            <a:noFill/>
            <a:round/>
            <a:headEnd/>
            <a:tailEnd/>
          </a:ln>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endParaRPr>
          </a:p>
        </p:txBody>
      </p:sp>
      <p:sp>
        <p:nvSpPr>
          <p:cNvPr id="2" name="Title 1"/>
          <p:cNvSpPr>
            <a:spLocks noGrp="1"/>
          </p:cNvSpPr>
          <p:nvPr>
            <p:ph type="title" hasCustomPrompt="1"/>
          </p:nvPr>
        </p:nvSpPr>
        <p:spPr>
          <a:xfrm>
            <a:off x="974619" y="0"/>
            <a:ext cx="10375008" cy="1104900"/>
          </a:xfrm>
        </p:spPr>
        <p:txBody>
          <a:bodyPr/>
          <a:lstStyle>
            <a:lvl1pPr>
              <a:defRPr/>
            </a:lvl1pPr>
          </a:lstStyle>
          <a:p>
            <a:r>
              <a:rPr lang="en-US" noProof="0"/>
              <a:t>Click to edit title</a:t>
            </a:r>
          </a:p>
        </p:txBody>
      </p:sp>
      <p:sp>
        <p:nvSpPr>
          <p:cNvPr id="5" name="Espace réservé du texte 4"/>
          <p:cNvSpPr>
            <a:spLocks noGrp="1"/>
          </p:cNvSpPr>
          <p:nvPr>
            <p:ph type="body" sz="quarter" idx="11" hasCustomPrompt="1"/>
          </p:nvPr>
        </p:nvSpPr>
        <p:spPr>
          <a:xfrm>
            <a:off x="974619" y="1148607"/>
            <a:ext cx="10938054" cy="504056"/>
          </a:xfrm>
          <a:prstGeom prst="rect">
            <a:avLst/>
          </a:prstGeom>
        </p:spPr>
        <p:txBody>
          <a:bodyPr/>
          <a:lstStyle>
            <a:lvl1pPr>
              <a:defRPr>
                <a:solidFill>
                  <a:schemeClr val="accent2"/>
                </a:solidFill>
              </a:defRPr>
            </a:lvl1pPr>
          </a:lstStyle>
          <a:p>
            <a:pPr lvl="0"/>
            <a:r>
              <a:rPr lang="en-US" noProof="0"/>
              <a:t>Click to edit Master subtitle styles</a:t>
            </a:r>
          </a:p>
        </p:txBody>
      </p:sp>
      <p:sp>
        <p:nvSpPr>
          <p:cNvPr id="17" name="Text Placeholder 16"/>
          <p:cNvSpPr>
            <a:spLocks noGrp="1"/>
          </p:cNvSpPr>
          <p:nvPr>
            <p:ph type="body" sz="quarter" idx="12" hasCustomPrompt="1"/>
          </p:nvPr>
        </p:nvSpPr>
        <p:spPr>
          <a:xfrm>
            <a:off x="0" y="48742"/>
            <a:ext cx="914162" cy="914400"/>
          </a:xfrm>
        </p:spPr>
        <p:txBody>
          <a:bodyPr anchor="ctr">
            <a:normAutofit/>
          </a:bodyPr>
          <a:lstStyle>
            <a:lvl1pPr marL="0" indent="0" algn="ctr" defTabSz="914126" rtl="0" eaLnBrk="1" latinLnBrk="0" hangingPunct="1">
              <a:lnSpc>
                <a:spcPct val="90000"/>
              </a:lnSpc>
              <a:spcBef>
                <a:spcPts val="1000"/>
              </a:spcBef>
              <a:buFont typeface="Arial" panose="020B0604020202020204" pitchFamily="34" charset="0"/>
              <a:buNone/>
              <a:defRPr lang="en-GB" sz="3999" kern="120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a:t>
            </a:r>
          </a:p>
        </p:txBody>
      </p:sp>
      <p:sp>
        <p:nvSpPr>
          <p:cNvPr id="9" name="Text Placeholder 2">
            <a:extLst>
              <a:ext uri="{FF2B5EF4-FFF2-40B4-BE49-F238E27FC236}">
                <a16:creationId xmlns="" xmlns:a16="http://schemas.microsoft.com/office/drawing/2014/main" id="{7687075D-0D2B-48C9-A5E3-EC921C4B6B62}"/>
              </a:ext>
            </a:extLst>
          </p:cNvPr>
          <p:cNvSpPr>
            <a:spLocks noGrp="1"/>
          </p:cNvSpPr>
          <p:nvPr>
            <p:ph idx="1"/>
          </p:nvPr>
        </p:nvSpPr>
        <p:spPr>
          <a:xfrm>
            <a:off x="412960" y="1988800"/>
            <a:ext cx="11367984" cy="4464388"/>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Date Placeholder 2">
            <a:extLst>
              <a:ext uri="{FF2B5EF4-FFF2-40B4-BE49-F238E27FC236}">
                <a16:creationId xmlns="" xmlns:a16="http://schemas.microsoft.com/office/drawing/2014/main" id="{03FD73A9-F91A-4FE2-9491-559B39DEFB71}"/>
              </a:ext>
            </a:extLst>
          </p:cNvPr>
          <p:cNvSpPr>
            <a:spLocks noGrp="1"/>
          </p:cNvSpPr>
          <p:nvPr>
            <p:ph type="dt" sz="half" idx="2"/>
          </p:nvPr>
        </p:nvSpPr>
        <p:spPr>
          <a:xfrm>
            <a:off x="407882" y="6555971"/>
            <a:ext cx="2828270" cy="219456"/>
          </a:xfrm>
          <a:prstGeom prst="rect">
            <a:avLst/>
          </a:prstGeom>
        </p:spPr>
        <p:txBody>
          <a:bodyPr wrap="square" lIns="0" tIns="0" rIns="0" bIns="0" anchor="ctr" anchorCtr="0">
            <a:noAutofit/>
          </a:bodyPr>
          <a:lstStyle>
            <a:lvl1pPr>
              <a:defRPr lang="de-DE" sz="800" kern="0" smtClean="0">
                <a:solidFill>
                  <a:schemeClr val="accent1"/>
                </a:solidFill>
                <a:latin typeface="+mj-lt"/>
                <a:cs typeface="Arial" panose="020B0604020202020204" pitchFamily="34" charset="0"/>
              </a:defRPr>
            </a:lvl1pPr>
          </a:lstStyle>
          <a:p>
            <a:pPr>
              <a:lnSpc>
                <a:spcPct val="85000"/>
              </a:lnSpc>
            </a:pPr>
            <a:r>
              <a:rPr lang="en-US" dirty="0">
                <a:solidFill>
                  <a:srgbClr val="0070AD"/>
                </a:solidFill>
              </a:rPr>
              <a:t>Group IT Project Charter Template v14.1 | 01/05/2018</a:t>
            </a:r>
          </a:p>
        </p:txBody>
      </p:sp>
      <p:sp>
        <p:nvSpPr>
          <p:cNvPr id="11" name="Footer Placeholder 3">
            <a:extLst>
              <a:ext uri="{FF2B5EF4-FFF2-40B4-BE49-F238E27FC236}">
                <a16:creationId xmlns="" xmlns:a16="http://schemas.microsoft.com/office/drawing/2014/main" id="{4921EF96-C81E-4F9B-BE8C-C8A1CF6740CB}"/>
              </a:ext>
            </a:extLst>
          </p:cNvPr>
          <p:cNvSpPr>
            <a:spLocks noGrp="1"/>
          </p:cNvSpPr>
          <p:nvPr>
            <p:ph type="ftr" sz="quarter" idx="3"/>
          </p:nvPr>
        </p:nvSpPr>
        <p:spPr>
          <a:xfrm>
            <a:off x="9321679" y="6555758"/>
            <a:ext cx="2223107"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dirty="0">
                <a:solidFill>
                  <a:srgbClr val="E6E7E7">
                    <a:lumMod val="50000"/>
                  </a:srgbClr>
                </a:solidFill>
              </a:rPr>
              <a:t>© 2018 Capgemini. All rights reserved.</a:t>
            </a:r>
          </a:p>
        </p:txBody>
      </p:sp>
      <p:sp>
        <p:nvSpPr>
          <p:cNvPr id="12" name="Slide Number Placeholder 28">
            <a:extLst>
              <a:ext uri="{FF2B5EF4-FFF2-40B4-BE49-F238E27FC236}">
                <a16:creationId xmlns="" xmlns:a16="http://schemas.microsoft.com/office/drawing/2014/main" id="{F52D1B37-382C-4AD7-BCF9-A2A2D041AF7D}"/>
              </a:ext>
            </a:extLst>
          </p:cNvPr>
          <p:cNvSpPr>
            <a:spLocks noGrp="1"/>
          </p:cNvSpPr>
          <p:nvPr>
            <p:ph type="sldNum" sz="quarter" idx="4"/>
          </p:nvPr>
        </p:nvSpPr>
        <p:spPr>
          <a:xfrm>
            <a:off x="11780944" y="6555758"/>
            <a:ext cx="123722"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cxnSp>
        <p:nvCxnSpPr>
          <p:cNvPr id="13" name="Conector reto 49">
            <a:extLst>
              <a:ext uri="{FF2B5EF4-FFF2-40B4-BE49-F238E27FC236}">
                <a16:creationId xmlns="" xmlns:a16="http://schemas.microsoft.com/office/drawing/2014/main" id="{C60D9EF9-0C28-4061-B29A-CF8BFBCDDB85}"/>
              </a:ext>
            </a:extLst>
          </p:cNvPr>
          <p:cNvCxnSpPr>
            <a:cxnSpLocks/>
          </p:cNvCxnSpPr>
          <p:nvPr userDrawn="1"/>
        </p:nvCxnSpPr>
        <p:spPr>
          <a:xfrm flipV="1">
            <a:off x="11565747"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 xmlns:a16="http://schemas.microsoft.com/office/drawing/2014/main" id="{EAEC8695-E178-4EFF-8F42-1063F584099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8404668" y="6591202"/>
            <a:ext cx="701815" cy="180000"/>
          </a:xfrm>
          <a:prstGeom prst="rect">
            <a:avLst/>
          </a:prstGeom>
        </p:spPr>
      </p:pic>
    </p:spTree>
    <p:extLst>
      <p:ext uri="{BB962C8B-B14F-4D97-AF65-F5344CB8AC3E}">
        <p14:creationId xmlns:p14="http://schemas.microsoft.com/office/powerpoint/2010/main" val="13659315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lnSpc>
                <a:spcPct val="85000"/>
              </a:lnSpc>
            </a:pPr>
            <a:r>
              <a:rPr lang="en-US" dirty="0">
                <a:solidFill>
                  <a:srgbClr val="0070AD"/>
                </a:solidFill>
              </a:rPr>
              <a:t>Group IT Project Charter Template v14.1 | 01/05/2018</a:t>
            </a:r>
          </a:p>
        </p:txBody>
      </p:sp>
      <p:sp>
        <p:nvSpPr>
          <p:cNvPr id="6" name="Footer Placeholder 5"/>
          <p:cNvSpPr>
            <a:spLocks noGrp="1"/>
          </p:cNvSpPr>
          <p:nvPr>
            <p:ph type="ftr" sz="quarter" idx="11"/>
          </p:nvPr>
        </p:nvSpPr>
        <p:spPr/>
        <p:txBody>
          <a:bodyPr/>
          <a:lstStyle/>
          <a:p>
            <a:r>
              <a:rPr lang="en-US" dirty="0">
                <a:solidFill>
                  <a:srgbClr val="E6E7E7">
                    <a:lumMod val="50000"/>
                  </a:srgbClr>
                </a:solidFill>
              </a:rPr>
              <a:t>© 2018 Capgemini. All rights reserved.</a:t>
            </a:r>
          </a:p>
        </p:txBody>
      </p:sp>
      <p:sp>
        <p:nvSpPr>
          <p:cNvPr id="7" name="Slide Number Placeholder 6"/>
          <p:cNvSpPr>
            <a:spLocks noGrp="1"/>
          </p:cNvSpPr>
          <p:nvPr>
            <p:ph type="sldNum" sz="quarter" idx="12"/>
          </p:nvPr>
        </p:nvSpPr>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spTree>
    <p:extLst>
      <p:ext uri="{BB962C8B-B14F-4D97-AF65-F5344CB8AC3E}">
        <p14:creationId xmlns:p14="http://schemas.microsoft.com/office/powerpoint/2010/main" val="10017995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279F1DAD-5BB1-4142-B838-01DB99370135}"/>
              </a:ext>
            </a:extLst>
          </p:cNvPr>
          <p:cNvSpPr/>
          <p:nvPr userDrawn="1"/>
        </p:nvSpPr>
        <p:spPr>
          <a:xfrm>
            <a:off x="0" y="4077072"/>
            <a:ext cx="12188825"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srgbClr val="FFFFFF"/>
              </a:solidFill>
            </a:endParaRPr>
          </a:p>
        </p:txBody>
      </p:sp>
      <p:sp>
        <p:nvSpPr>
          <p:cNvPr id="9" name="Text Placeholder 4">
            <a:extLst>
              <a:ext uri="{FF2B5EF4-FFF2-40B4-BE49-F238E27FC236}">
                <a16:creationId xmlns="" xmlns:a16="http://schemas.microsoft.com/office/drawing/2014/main" id="{04C1CAD0-39C3-4CE2-A9E9-8CA99EFF5357}"/>
              </a:ext>
            </a:extLst>
          </p:cNvPr>
          <p:cNvSpPr>
            <a:spLocks noGrp="1"/>
          </p:cNvSpPr>
          <p:nvPr>
            <p:ph type="body" sz="quarter" idx="13" hasCustomPrompt="1"/>
          </p:nvPr>
        </p:nvSpPr>
        <p:spPr>
          <a:xfrm>
            <a:off x="426377" y="1196691"/>
            <a:ext cx="3565231" cy="412363"/>
          </a:xfrm>
          <a:prstGeom prst="rect">
            <a:avLst/>
          </a:prstGeom>
          <a:noFill/>
        </p:spPr>
        <p:txBody>
          <a:bodyPr anchor="ctr">
            <a:noAutofit/>
          </a:bodyPr>
          <a:lstStyle>
            <a:lvl1pPr algn="l">
              <a:defRPr sz="1799"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37" name="Text Placeholder 4">
            <a:extLst>
              <a:ext uri="{FF2B5EF4-FFF2-40B4-BE49-F238E27FC236}">
                <a16:creationId xmlns="" xmlns:a16="http://schemas.microsoft.com/office/drawing/2014/main" id="{8D6FD04F-776D-4BC2-9828-DC149A95B778}"/>
              </a:ext>
            </a:extLst>
          </p:cNvPr>
          <p:cNvSpPr>
            <a:spLocks noGrp="1"/>
          </p:cNvSpPr>
          <p:nvPr>
            <p:ph type="body" sz="quarter" idx="27" hasCustomPrompt="1"/>
          </p:nvPr>
        </p:nvSpPr>
        <p:spPr>
          <a:xfrm>
            <a:off x="8215713" y="1196691"/>
            <a:ext cx="3565231" cy="412363"/>
          </a:xfrm>
          <a:prstGeom prst="rect">
            <a:avLst/>
          </a:prstGeom>
          <a:noFill/>
        </p:spPr>
        <p:txBody>
          <a:bodyPr anchor="ctr">
            <a:noAutofit/>
          </a:bodyPr>
          <a:lstStyle>
            <a:lvl1pPr algn="l">
              <a:defRPr sz="1799"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39" name="Text Placeholder 4">
            <a:extLst>
              <a:ext uri="{FF2B5EF4-FFF2-40B4-BE49-F238E27FC236}">
                <a16:creationId xmlns="" xmlns:a16="http://schemas.microsoft.com/office/drawing/2014/main" id="{5A2CDF95-9D29-4775-8BEF-90BC5372B782}"/>
              </a:ext>
            </a:extLst>
          </p:cNvPr>
          <p:cNvSpPr>
            <a:spLocks noGrp="1"/>
          </p:cNvSpPr>
          <p:nvPr>
            <p:ph type="body" sz="quarter" idx="29" hasCustomPrompt="1"/>
          </p:nvPr>
        </p:nvSpPr>
        <p:spPr>
          <a:xfrm>
            <a:off x="4321046" y="1196691"/>
            <a:ext cx="3565231" cy="412363"/>
          </a:xfrm>
          <a:prstGeom prst="rect">
            <a:avLst/>
          </a:prstGeom>
          <a:noFill/>
        </p:spPr>
        <p:txBody>
          <a:bodyPr anchor="ctr">
            <a:noAutofit/>
          </a:bodyPr>
          <a:lstStyle>
            <a:lvl1pPr algn="l">
              <a:defRPr sz="1799"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41" name="Text Placeholder 4">
            <a:extLst>
              <a:ext uri="{FF2B5EF4-FFF2-40B4-BE49-F238E27FC236}">
                <a16:creationId xmlns="" xmlns:a16="http://schemas.microsoft.com/office/drawing/2014/main" id="{6012FFDA-311F-429E-998E-F6E6B0A7186E}"/>
              </a:ext>
            </a:extLst>
          </p:cNvPr>
          <p:cNvSpPr>
            <a:spLocks noGrp="1"/>
          </p:cNvSpPr>
          <p:nvPr>
            <p:ph type="body" sz="quarter" idx="31" hasCustomPrompt="1"/>
          </p:nvPr>
        </p:nvSpPr>
        <p:spPr>
          <a:xfrm>
            <a:off x="407882" y="4231997"/>
            <a:ext cx="11373062"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noProof="0"/>
              <a:t>Click to insert section title</a:t>
            </a:r>
          </a:p>
        </p:txBody>
      </p:sp>
      <p:sp>
        <p:nvSpPr>
          <p:cNvPr id="42" name="Text Placeholder 7">
            <a:extLst>
              <a:ext uri="{FF2B5EF4-FFF2-40B4-BE49-F238E27FC236}">
                <a16:creationId xmlns="" xmlns:a16="http://schemas.microsoft.com/office/drawing/2014/main" id="{9228FC83-C11D-47F2-8BDE-B10D125E5E87}"/>
              </a:ext>
            </a:extLst>
          </p:cNvPr>
          <p:cNvSpPr>
            <a:spLocks noGrp="1"/>
          </p:cNvSpPr>
          <p:nvPr>
            <p:ph type="body" sz="quarter" idx="32" hasCustomPrompt="1"/>
          </p:nvPr>
        </p:nvSpPr>
        <p:spPr>
          <a:xfrm>
            <a:off x="426377" y="1639909"/>
            <a:ext cx="3565231" cy="1994493"/>
          </a:xfrm>
          <a:prstGeom prst="rect">
            <a:avLst/>
          </a:prstGeom>
        </p:spPr>
        <p:txBody>
          <a:bodyPr>
            <a:noAutofit/>
          </a:bodyPr>
          <a:lstStyle>
            <a:lvl1pPr>
              <a:lnSpc>
                <a:spcPts val="1600"/>
              </a:lnSpc>
              <a:defRPr sz="1400">
                <a:solidFill>
                  <a:schemeClr val="tx1"/>
                </a:solidFill>
              </a:defRPr>
            </a:lvl1pPr>
            <a:lvl2pPr marL="172986" indent="-168225">
              <a:lnSpc>
                <a:spcPts val="1400"/>
              </a:lnSpc>
              <a:defRPr sz="1200">
                <a:solidFill>
                  <a:schemeClr val="tx1"/>
                </a:solidFill>
              </a:defRPr>
            </a:lvl2pPr>
            <a:lvl3pPr marL="347559" indent="-174573">
              <a:lnSpc>
                <a:spcPts val="1400"/>
              </a:lnSpc>
              <a:defRPr sz="1200">
                <a:solidFill>
                  <a:schemeClr val="tx1"/>
                </a:solidFill>
              </a:defRPr>
            </a:lvl3pPr>
            <a:lvl4pPr marL="509435" indent="-161876">
              <a:lnSpc>
                <a:spcPts val="1200"/>
              </a:lnSpc>
              <a:defRPr sz="1100">
                <a:solidFill>
                  <a:schemeClr val="tx1"/>
                </a:solidFill>
              </a:defRPr>
            </a:lvl4pPr>
            <a:lvl5pPr>
              <a:lnSpc>
                <a:spcPct val="100000"/>
              </a:lnSpc>
              <a:defRPr sz="1200">
                <a:solidFill>
                  <a:schemeClr val="tx1"/>
                </a:solidFill>
              </a:defRPr>
            </a:lvl5pPr>
          </a:lstStyle>
          <a:p>
            <a:pPr lvl="0"/>
            <a:r>
              <a:rPr lang="en-US" noProof="0"/>
              <a:t>Click to insert text</a:t>
            </a:r>
          </a:p>
          <a:p>
            <a:pPr lvl="1"/>
            <a:r>
              <a:rPr lang="en-US" noProof="0"/>
              <a:t>Second level</a:t>
            </a:r>
          </a:p>
          <a:p>
            <a:pPr lvl="2"/>
            <a:r>
              <a:rPr lang="en-US" noProof="0"/>
              <a:t>Third level</a:t>
            </a:r>
          </a:p>
          <a:p>
            <a:pPr lvl="3"/>
            <a:r>
              <a:rPr lang="en-US" noProof="0"/>
              <a:t>Fourth level</a:t>
            </a:r>
          </a:p>
        </p:txBody>
      </p:sp>
      <p:sp>
        <p:nvSpPr>
          <p:cNvPr id="24" name="Text Placeholder 7">
            <a:extLst>
              <a:ext uri="{FF2B5EF4-FFF2-40B4-BE49-F238E27FC236}">
                <a16:creationId xmlns="" xmlns:a16="http://schemas.microsoft.com/office/drawing/2014/main" id="{9228FC83-C11D-47F2-8BDE-B10D125E5E87}"/>
              </a:ext>
            </a:extLst>
          </p:cNvPr>
          <p:cNvSpPr>
            <a:spLocks noGrp="1"/>
          </p:cNvSpPr>
          <p:nvPr>
            <p:ph type="body" sz="quarter" idx="33" hasCustomPrompt="1"/>
          </p:nvPr>
        </p:nvSpPr>
        <p:spPr>
          <a:xfrm>
            <a:off x="4321046" y="1639909"/>
            <a:ext cx="3565231" cy="1994493"/>
          </a:xfrm>
          <a:prstGeom prst="rect">
            <a:avLst/>
          </a:prstGeom>
        </p:spPr>
        <p:txBody>
          <a:bodyPr>
            <a:noAutofit/>
          </a:bodyPr>
          <a:lstStyle>
            <a:lvl1pPr>
              <a:lnSpc>
                <a:spcPts val="1600"/>
              </a:lnSpc>
              <a:defRPr sz="1400">
                <a:solidFill>
                  <a:schemeClr val="tx1"/>
                </a:solidFill>
              </a:defRPr>
            </a:lvl1pPr>
            <a:lvl2pPr marL="172986" indent="-168225">
              <a:lnSpc>
                <a:spcPts val="1400"/>
              </a:lnSpc>
              <a:defRPr sz="1200">
                <a:solidFill>
                  <a:schemeClr val="tx1"/>
                </a:solidFill>
              </a:defRPr>
            </a:lvl2pPr>
            <a:lvl3pPr marL="347559" indent="-174573">
              <a:lnSpc>
                <a:spcPts val="1400"/>
              </a:lnSpc>
              <a:defRPr sz="1200">
                <a:solidFill>
                  <a:schemeClr val="tx1"/>
                </a:solidFill>
              </a:defRPr>
            </a:lvl3pPr>
            <a:lvl4pPr marL="509435" indent="-161876">
              <a:lnSpc>
                <a:spcPts val="1200"/>
              </a:lnSpc>
              <a:defRPr sz="1100">
                <a:solidFill>
                  <a:schemeClr val="tx1"/>
                </a:solidFill>
              </a:defRPr>
            </a:lvl4pPr>
            <a:lvl5pPr>
              <a:lnSpc>
                <a:spcPct val="100000"/>
              </a:lnSpc>
              <a:defRPr sz="1200">
                <a:solidFill>
                  <a:schemeClr val="tx1"/>
                </a:solidFill>
              </a:defRPr>
            </a:lvl5pPr>
          </a:lstStyle>
          <a:p>
            <a:pPr lvl="0"/>
            <a:r>
              <a:rPr lang="en-US" noProof="0"/>
              <a:t>Click to insert text</a:t>
            </a:r>
          </a:p>
          <a:p>
            <a:pPr lvl="1"/>
            <a:r>
              <a:rPr lang="en-US" noProof="0"/>
              <a:t>Second level</a:t>
            </a:r>
          </a:p>
          <a:p>
            <a:pPr lvl="2"/>
            <a:r>
              <a:rPr lang="en-US" noProof="0"/>
              <a:t>Third level</a:t>
            </a:r>
          </a:p>
          <a:p>
            <a:pPr lvl="3"/>
            <a:r>
              <a:rPr lang="en-US" noProof="0"/>
              <a:t>Fourth level</a:t>
            </a:r>
          </a:p>
        </p:txBody>
      </p:sp>
      <p:sp>
        <p:nvSpPr>
          <p:cNvPr id="25" name="Text Placeholder 7">
            <a:extLst>
              <a:ext uri="{FF2B5EF4-FFF2-40B4-BE49-F238E27FC236}">
                <a16:creationId xmlns="" xmlns:a16="http://schemas.microsoft.com/office/drawing/2014/main" id="{9228FC83-C11D-47F2-8BDE-B10D125E5E87}"/>
              </a:ext>
            </a:extLst>
          </p:cNvPr>
          <p:cNvSpPr>
            <a:spLocks noGrp="1"/>
          </p:cNvSpPr>
          <p:nvPr>
            <p:ph type="body" sz="quarter" idx="34" hasCustomPrompt="1"/>
          </p:nvPr>
        </p:nvSpPr>
        <p:spPr>
          <a:xfrm>
            <a:off x="8215713" y="1639909"/>
            <a:ext cx="3565231" cy="1994493"/>
          </a:xfrm>
          <a:prstGeom prst="rect">
            <a:avLst/>
          </a:prstGeom>
        </p:spPr>
        <p:txBody>
          <a:bodyPr>
            <a:noAutofit/>
          </a:bodyPr>
          <a:lstStyle>
            <a:lvl1pPr>
              <a:lnSpc>
                <a:spcPts val="1600"/>
              </a:lnSpc>
              <a:defRPr sz="1400">
                <a:solidFill>
                  <a:schemeClr val="tx1"/>
                </a:solidFill>
              </a:defRPr>
            </a:lvl1pPr>
            <a:lvl2pPr marL="172986" indent="-168225">
              <a:lnSpc>
                <a:spcPts val="1400"/>
              </a:lnSpc>
              <a:defRPr sz="1200">
                <a:solidFill>
                  <a:schemeClr val="tx1"/>
                </a:solidFill>
              </a:defRPr>
            </a:lvl2pPr>
            <a:lvl3pPr marL="347559" indent="-174573">
              <a:lnSpc>
                <a:spcPts val="1400"/>
              </a:lnSpc>
              <a:defRPr sz="1200">
                <a:solidFill>
                  <a:schemeClr val="tx1"/>
                </a:solidFill>
              </a:defRPr>
            </a:lvl3pPr>
            <a:lvl4pPr marL="509435" indent="-161876">
              <a:lnSpc>
                <a:spcPts val="1200"/>
              </a:lnSpc>
              <a:defRPr sz="1100">
                <a:solidFill>
                  <a:schemeClr val="tx1"/>
                </a:solidFill>
              </a:defRPr>
            </a:lvl4pPr>
            <a:lvl5pPr>
              <a:lnSpc>
                <a:spcPct val="100000"/>
              </a:lnSpc>
              <a:defRPr sz="1200">
                <a:solidFill>
                  <a:schemeClr val="tx1"/>
                </a:solidFill>
              </a:defRPr>
            </a:lvl5pPr>
          </a:lstStyle>
          <a:p>
            <a:pPr lvl="0"/>
            <a:r>
              <a:rPr lang="en-US" noProof="0"/>
              <a:t>Click to insert text</a:t>
            </a:r>
          </a:p>
          <a:p>
            <a:pPr lvl="1"/>
            <a:r>
              <a:rPr lang="en-US" noProof="0"/>
              <a:t>Second level</a:t>
            </a:r>
          </a:p>
          <a:p>
            <a:pPr lvl="2"/>
            <a:r>
              <a:rPr lang="en-US" noProof="0"/>
              <a:t>Third level</a:t>
            </a:r>
          </a:p>
          <a:p>
            <a:pPr lvl="3"/>
            <a:r>
              <a:rPr lang="en-US" noProof="0"/>
              <a:t>Fourth level</a:t>
            </a:r>
          </a:p>
        </p:txBody>
      </p:sp>
      <p:sp>
        <p:nvSpPr>
          <p:cNvPr id="26"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426377" y="4674188"/>
            <a:ext cx="11354567" cy="1799211"/>
          </a:xfrm>
          <a:prstGeom prst="rect">
            <a:avLst/>
          </a:prstGeom>
        </p:spPr>
        <p:txBody>
          <a:bodyPr>
            <a:noAutofit/>
          </a:bodyPr>
          <a:lstStyle>
            <a:lvl1pPr>
              <a:lnSpc>
                <a:spcPts val="1600"/>
              </a:lnSpc>
              <a:defRPr sz="1400">
                <a:solidFill>
                  <a:schemeClr val="tx1"/>
                </a:solidFill>
              </a:defRPr>
            </a:lvl1pPr>
            <a:lvl2pPr marL="172986" indent="-168225">
              <a:lnSpc>
                <a:spcPts val="1400"/>
              </a:lnSpc>
              <a:defRPr sz="1200">
                <a:solidFill>
                  <a:schemeClr val="tx1"/>
                </a:solidFill>
              </a:defRPr>
            </a:lvl2pPr>
            <a:lvl3pPr marL="347559" indent="-174573">
              <a:lnSpc>
                <a:spcPts val="1400"/>
              </a:lnSpc>
              <a:defRPr sz="1200">
                <a:solidFill>
                  <a:schemeClr val="tx1"/>
                </a:solidFill>
              </a:defRPr>
            </a:lvl3pPr>
            <a:lvl4pPr marL="509435" indent="-161876">
              <a:lnSpc>
                <a:spcPts val="1200"/>
              </a:lnSpc>
              <a:defRPr sz="1100">
                <a:solidFill>
                  <a:schemeClr val="tx1"/>
                </a:solidFill>
              </a:defRPr>
            </a:lvl4pPr>
            <a:lvl5pPr>
              <a:lnSpc>
                <a:spcPct val="100000"/>
              </a:lnSpc>
              <a:defRPr sz="1200">
                <a:solidFill>
                  <a:schemeClr val="tx1"/>
                </a:solidFill>
              </a:defRPr>
            </a:lvl5pPr>
          </a:lstStyle>
          <a:p>
            <a:pPr lvl="0"/>
            <a:r>
              <a:rPr lang="en-US" noProof="0"/>
              <a:t>Click to insert text</a:t>
            </a:r>
          </a:p>
          <a:p>
            <a:pPr lvl="1"/>
            <a:r>
              <a:rPr lang="en-US" noProof="0"/>
              <a:t>Second level</a:t>
            </a:r>
          </a:p>
          <a:p>
            <a:pPr lvl="2"/>
            <a:r>
              <a:rPr lang="en-US" noProof="0"/>
              <a:t>Third level</a:t>
            </a:r>
          </a:p>
          <a:p>
            <a:pPr lvl="3"/>
            <a:r>
              <a:rPr lang="en-US" noProof="0"/>
              <a:t>Fourth level</a:t>
            </a:r>
          </a:p>
        </p:txBody>
      </p:sp>
      <p:cxnSp>
        <p:nvCxnSpPr>
          <p:cNvPr id="2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11565747"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hasCustomPrompt="1"/>
          </p:nvPr>
        </p:nvSpPr>
        <p:spPr/>
        <p:txBody>
          <a:bodyPr/>
          <a:lstStyle/>
          <a:p>
            <a:r>
              <a:rPr lang="en-US" noProof="0"/>
              <a:t>Click to edit Master title style</a:t>
            </a:r>
          </a:p>
        </p:txBody>
      </p:sp>
      <p:sp>
        <p:nvSpPr>
          <p:cNvPr id="6" name="Date Placeholder 5"/>
          <p:cNvSpPr>
            <a:spLocks noGrp="1"/>
          </p:cNvSpPr>
          <p:nvPr>
            <p:ph type="dt" sz="half" idx="36"/>
          </p:nvPr>
        </p:nvSpPr>
        <p:spPr/>
        <p:txBody>
          <a:bodyPr/>
          <a:lstStyle/>
          <a:p>
            <a:pPr>
              <a:lnSpc>
                <a:spcPct val="85000"/>
              </a:lnSpc>
            </a:pPr>
            <a:r>
              <a:rPr lang="en-US" dirty="0">
                <a:solidFill>
                  <a:srgbClr val="0070AD"/>
                </a:solidFill>
              </a:rPr>
              <a:t>Group IT Project Charter Template v14.1 | 01/05/2018</a:t>
            </a:r>
          </a:p>
        </p:txBody>
      </p:sp>
      <p:sp>
        <p:nvSpPr>
          <p:cNvPr id="7" name="Footer Placeholder 6"/>
          <p:cNvSpPr>
            <a:spLocks noGrp="1"/>
          </p:cNvSpPr>
          <p:nvPr>
            <p:ph type="ftr" sz="quarter" idx="37"/>
          </p:nvPr>
        </p:nvSpPr>
        <p:spPr/>
        <p:txBody>
          <a:bodyPr/>
          <a:lstStyle/>
          <a:p>
            <a:r>
              <a:rPr lang="en-US" dirty="0">
                <a:solidFill>
                  <a:srgbClr val="E6E7E7">
                    <a:lumMod val="50000"/>
                  </a:srgbClr>
                </a:solidFill>
              </a:rPr>
              <a:t>© 2018 Capgemini. All rights reserved.</a:t>
            </a:r>
          </a:p>
        </p:txBody>
      </p:sp>
      <p:sp>
        <p:nvSpPr>
          <p:cNvPr id="8" name="Slide Number Placeholder 7"/>
          <p:cNvSpPr>
            <a:spLocks noGrp="1"/>
          </p:cNvSpPr>
          <p:nvPr>
            <p:ph type="sldNum" sz="quarter" idx="38"/>
          </p:nvPr>
        </p:nvSpPr>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spTree>
    <p:extLst>
      <p:ext uri="{BB962C8B-B14F-4D97-AF65-F5344CB8AC3E}">
        <p14:creationId xmlns:p14="http://schemas.microsoft.com/office/powerpoint/2010/main" val="917756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Gre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lnSpc>
                <a:spcPct val="85000"/>
              </a:lnSpc>
            </a:pPr>
            <a:r>
              <a:rPr lang="en-US" dirty="0">
                <a:solidFill>
                  <a:srgbClr val="0070AD"/>
                </a:solidFill>
              </a:rPr>
              <a:t>Group IT Project Charter Template v14.1 | 01/05/2018</a:t>
            </a:r>
          </a:p>
        </p:txBody>
      </p:sp>
      <p:sp>
        <p:nvSpPr>
          <p:cNvPr id="6" name="Footer Placeholder 5"/>
          <p:cNvSpPr>
            <a:spLocks noGrp="1"/>
          </p:cNvSpPr>
          <p:nvPr>
            <p:ph type="ftr" sz="quarter" idx="11"/>
          </p:nvPr>
        </p:nvSpPr>
        <p:spPr/>
        <p:txBody>
          <a:bodyPr/>
          <a:lstStyle/>
          <a:p>
            <a:r>
              <a:rPr lang="en-US" dirty="0">
                <a:solidFill>
                  <a:srgbClr val="E6E7E7">
                    <a:lumMod val="50000"/>
                  </a:srgbClr>
                </a:solidFill>
              </a:rPr>
              <a:t>© 2018 Capgemini. All rights reserved.</a:t>
            </a:r>
          </a:p>
        </p:txBody>
      </p:sp>
      <p:sp>
        <p:nvSpPr>
          <p:cNvPr id="7" name="Slide Number Placeholder 6"/>
          <p:cNvSpPr>
            <a:spLocks noGrp="1"/>
          </p:cNvSpPr>
          <p:nvPr>
            <p:ph type="sldNum" sz="quarter" idx="12"/>
          </p:nvPr>
        </p:nvSpPr>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spTree>
    <p:extLst>
      <p:ext uri="{BB962C8B-B14F-4D97-AF65-F5344CB8AC3E}">
        <p14:creationId xmlns:p14="http://schemas.microsoft.com/office/powerpoint/2010/main" val="38154385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Opener1">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32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Freeform 5"/>
          <p:cNvSpPr>
            <a:spLocks/>
          </p:cNvSpPr>
          <p:nvPr userDrawn="1"/>
        </p:nvSpPr>
        <p:spPr bwMode="auto">
          <a:xfrm flipH="1">
            <a:off x="1055025" y="0"/>
            <a:ext cx="111338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5"/>
          </a:solidFill>
          <a:ln>
            <a:noFill/>
          </a:ln>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endParaRPr>
          </a:p>
        </p:txBody>
      </p:sp>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6521128" y="1844825"/>
            <a:ext cx="5259817" cy="1182207"/>
          </a:xfrm>
          <a:prstGeom prst="rect">
            <a:avLst/>
          </a:prstGeom>
        </p:spPr>
        <p:txBody>
          <a:bodyPr anchor="t">
            <a:normAutofit/>
          </a:bodyPr>
          <a:lstStyle>
            <a:lvl1pPr marL="0" indent="0" algn="r">
              <a:lnSpc>
                <a:spcPts val="2999"/>
              </a:lnSpc>
              <a:buNone/>
              <a:defRPr sz="2599">
                <a:solidFill>
                  <a:schemeClr val="accent1"/>
                </a:solidFill>
              </a:defRPr>
            </a:lvl1pPr>
            <a:lvl2pPr marL="457063" indent="0">
              <a:buNone/>
              <a:defRPr sz="5998">
                <a:solidFill>
                  <a:schemeClr val="bg1"/>
                </a:solidFill>
              </a:defRPr>
            </a:lvl2pPr>
          </a:lstStyle>
          <a:p>
            <a:pPr lvl="0"/>
            <a:r>
              <a:rPr lang="en-US" noProof="0"/>
              <a:t>Click to insert section title</a:t>
            </a:r>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407882" y="6101473"/>
            <a:ext cx="2285405" cy="510013"/>
          </a:xfrm>
          <a:prstGeom prst="rect">
            <a:avLst/>
          </a:prstGeom>
        </p:spPr>
      </p:pic>
      <p:pic>
        <p:nvPicPr>
          <p:cNvPr id="4" name="Image 3">
            <a:extLst>
              <a:ext uri="{FF2B5EF4-FFF2-40B4-BE49-F238E27FC236}">
                <a16:creationId xmlns="" xmlns:a16="http://schemas.microsoft.com/office/drawing/2014/main" id="{C7DBA1BF-AE7B-40C1-91EE-D228A4D7EE93}"/>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0629861" y="116541"/>
            <a:ext cx="1436505" cy="368431"/>
          </a:xfrm>
          <a:prstGeom prst="rect">
            <a:avLst/>
          </a:prstGeom>
        </p:spPr>
      </p:pic>
    </p:spTree>
    <p:extLst>
      <p:ext uri="{BB962C8B-B14F-4D97-AF65-F5344CB8AC3E}">
        <p14:creationId xmlns:p14="http://schemas.microsoft.com/office/powerpoint/2010/main" val="30808762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xmlns="" id="{10113F8D-52D8-4246-B9BC-1A6D3EF8C72C}"/>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b="25000"/>
          <a:stretch>
            <a:fillRect/>
          </a:stretch>
        </p:blipFill>
        <p:spPr>
          <a:xfrm>
            <a:off x="0" y="1485900"/>
            <a:ext cx="6421425"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xmlns="" id="{3E908611-FBB7-4987-BE0F-F09EAF1FFC80}"/>
              </a:ext>
            </a:extLst>
          </p:cNvPr>
          <p:cNvSpPr>
            <a:spLocks noGrp="1"/>
          </p:cNvSpPr>
          <p:nvPr>
            <p:ph type="body" sz="quarter" idx="11" hasCustomPrompt="1"/>
          </p:nvPr>
        </p:nvSpPr>
        <p:spPr>
          <a:xfrm>
            <a:off x="8073510" y="1268413"/>
            <a:ext cx="3707435"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noProof="0"/>
              <a:t>Click to insert text</a:t>
            </a:r>
          </a:p>
        </p:txBody>
      </p:sp>
      <p:sp>
        <p:nvSpPr>
          <p:cNvPr id="40" name="Text Placeholder 7">
            <a:extLst>
              <a:ext uri="{FF2B5EF4-FFF2-40B4-BE49-F238E27FC236}">
                <a16:creationId xmlns:a16="http://schemas.microsoft.com/office/drawing/2014/main" xmlns="" id="{306025B9-0362-4974-8920-7C764289CBA0}"/>
              </a:ext>
            </a:extLst>
          </p:cNvPr>
          <p:cNvSpPr>
            <a:spLocks noGrp="1"/>
          </p:cNvSpPr>
          <p:nvPr>
            <p:ph type="body" sz="quarter" idx="12" hasCustomPrompt="1"/>
          </p:nvPr>
        </p:nvSpPr>
        <p:spPr>
          <a:xfrm>
            <a:off x="8073510" y="1927538"/>
            <a:ext cx="3707435" cy="555448"/>
          </a:xfrm>
          <a:prstGeom prst="rect">
            <a:avLst/>
          </a:prstGeom>
        </p:spPr>
        <p:txBody>
          <a:bodyPr anchor="ctr">
            <a:noAutofit/>
          </a:bodyPr>
          <a:lstStyle>
            <a:lvl1pPr marL="0" marR="0" indent="0" algn="l" defTabSz="914126"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126"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noProof="0"/>
              <a:t>Click to insert text</a:t>
            </a:r>
          </a:p>
        </p:txBody>
      </p:sp>
      <p:sp>
        <p:nvSpPr>
          <p:cNvPr id="41" name="Text Placeholder 7">
            <a:extLst>
              <a:ext uri="{FF2B5EF4-FFF2-40B4-BE49-F238E27FC236}">
                <a16:creationId xmlns:a16="http://schemas.microsoft.com/office/drawing/2014/main" xmlns="" id="{257644F2-F28D-4087-B791-1E7F26C4AD1C}"/>
              </a:ext>
            </a:extLst>
          </p:cNvPr>
          <p:cNvSpPr>
            <a:spLocks noGrp="1"/>
          </p:cNvSpPr>
          <p:nvPr>
            <p:ph type="body" sz="quarter" idx="13" hasCustomPrompt="1"/>
          </p:nvPr>
        </p:nvSpPr>
        <p:spPr>
          <a:xfrm>
            <a:off x="8073510" y="2586663"/>
            <a:ext cx="3707435"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noProof="0"/>
              <a:t>Click to insert text</a:t>
            </a:r>
          </a:p>
        </p:txBody>
      </p:sp>
      <p:sp>
        <p:nvSpPr>
          <p:cNvPr id="42" name="Text Placeholder 7">
            <a:extLst>
              <a:ext uri="{FF2B5EF4-FFF2-40B4-BE49-F238E27FC236}">
                <a16:creationId xmlns:a16="http://schemas.microsoft.com/office/drawing/2014/main" xmlns="" id="{25F62A33-F672-4099-9B72-9B2267F22ACF}"/>
              </a:ext>
            </a:extLst>
          </p:cNvPr>
          <p:cNvSpPr>
            <a:spLocks noGrp="1"/>
          </p:cNvSpPr>
          <p:nvPr>
            <p:ph type="body" sz="quarter" idx="14" hasCustomPrompt="1"/>
          </p:nvPr>
        </p:nvSpPr>
        <p:spPr>
          <a:xfrm>
            <a:off x="8073510" y="3245788"/>
            <a:ext cx="3707435"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noProof="0"/>
              <a:t>Click to insert text</a:t>
            </a:r>
          </a:p>
        </p:txBody>
      </p:sp>
      <p:sp>
        <p:nvSpPr>
          <p:cNvPr id="43" name="Text Placeholder 7">
            <a:extLst>
              <a:ext uri="{FF2B5EF4-FFF2-40B4-BE49-F238E27FC236}">
                <a16:creationId xmlns:a16="http://schemas.microsoft.com/office/drawing/2014/main" xmlns="" id="{72FF6EE1-C46D-4DEB-A508-49B5101CF26E}"/>
              </a:ext>
            </a:extLst>
          </p:cNvPr>
          <p:cNvSpPr>
            <a:spLocks noGrp="1"/>
          </p:cNvSpPr>
          <p:nvPr>
            <p:ph type="body" sz="quarter" idx="15" hasCustomPrompt="1"/>
          </p:nvPr>
        </p:nvSpPr>
        <p:spPr>
          <a:xfrm>
            <a:off x="8073510" y="3904913"/>
            <a:ext cx="3707435"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noProof="0"/>
              <a:t>Click to insert text</a:t>
            </a:r>
          </a:p>
        </p:txBody>
      </p:sp>
      <p:sp>
        <p:nvSpPr>
          <p:cNvPr id="44" name="Text Placeholder 7">
            <a:extLst>
              <a:ext uri="{FF2B5EF4-FFF2-40B4-BE49-F238E27FC236}">
                <a16:creationId xmlns:a16="http://schemas.microsoft.com/office/drawing/2014/main" xmlns="" id="{931D06D9-EA9B-42A0-81EE-D669D6CA5F33}"/>
              </a:ext>
            </a:extLst>
          </p:cNvPr>
          <p:cNvSpPr>
            <a:spLocks noGrp="1"/>
          </p:cNvSpPr>
          <p:nvPr>
            <p:ph type="body" sz="quarter" idx="16" hasCustomPrompt="1"/>
          </p:nvPr>
        </p:nvSpPr>
        <p:spPr>
          <a:xfrm>
            <a:off x="8073510" y="4564038"/>
            <a:ext cx="3707435"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noProof="0"/>
              <a:t>Click to insert text</a:t>
            </a:r>
          </a:p>
        </p:txBody>
      </p:sp>
      <p:sp>
        <p:nvSpPr>
          <p:cNvPr id="45" name="Text Placeholder 7">
            <a:extLst>
              <a:ext uri="{FF2B5EF4-FFF2-40B4-BE49-F238E27FC236}">
                <a16:creationId xmlns:a16="http://schemas.microsoft.com/office/drawing/2014/main" xmlns="" id="{EFEA829A-6217-4965-B7BD-6BC37F7849AB}"/>
              </a:ext>
            </a:extLst>
          </p:cNvPr>
          <p:cNvSpPr>
            <a:spLocks noGrp="1"/>
          </p:cNvSpPr>
          <p:nvPr>
            <p:ph type="body" sz="quarter" idx="17" hasCustomPrompt="1"/>
          </p:nvPr>
        </p:nvSpPr>
        <p:spPr>
          <a:xfrm>
            <a:off x="8073510" y="5223163"/>
            <a:ext cx="3707435"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noProof="0"/>
              <a:t>Click to insert text</a:t>
            </a:r>
          </a:p>
        </p:txBody>
      </p:sp>
      <p:sp>
        <p:nvSpPr>
          <p:cNvPr id="46" name="Text Placeholder 7">
            <a:extLst>
              <a:ext uri="{FF2B5EF4-FFF2-40B4-BE49-F238E27FC236}">
                <a16:creationId xmlns:a16="http://schemas.microsoft.com/office/drawing/2014/main" xmlns="" id="{E05DDB93-91CA-4BAF-9D63-E4134B435D8F}"/>
              </a:ext>
            </a:extLst>
          </p:cNvPr>
          <p:cNvSpPr>
            <a:spLocks noGrp="1"/>
          </p:cNvSpPr>
          <p:nvPr>
            <p:ph type="body" sz="quarter" idx="18" hasCustomPrompt="1"/>
          </p:nvPr>
        </p:nvSpPr>
        <p:spPr>
          <a:xfrm>
            <a:off x="8073510" y="5882286"/>
            <a:ext cx="3707435"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noProof="0"/>
              <a:t>Click to insert text</a:t>
            </a:r>
          </a:p>
        </p:txBody>
      </p:sp>
      <p:sp>
        <p:nvSpPr>
          <p:cNvPr id="1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35113" y="116540"/>
            <a:ext cx="11013735" cy="863600"/>
          </a:xfrm>
          <a:prstGeom prst="rect">
            <a:avLst/>
          </a:prstGeom>
        </p:spPr>
        <p:txBody>
          <a:bodyPr vert="horz" lIns="0" tIns="0" rIns="0" bIns="0" rtlCol="0" anchor="t">
            <a:normAutofit/>
          </a:bodyPr>
          <a:lstStyle>
            <a:lvl1pPr>
              <a:defRPr lang="pt-PT" dirty="0">
                <a:solidFill>
                  <a:schemeClr val="accent1"/>
                </a:solidFill>
              </a:defRPr>
            </a:lvl1pPr>
          </a:lstStyle>
          <a:p>
            <a:pPr lvl="0">
              <a:lnSpc>
                <a:spcPts val="2999"/>
              </a:lnSpc>
            </a:pPr>
            <a:r>
              <a:rPr lang="en-US" noProof="0" dirty="0"/>
              <a:t>Click to add title</a:t>
            </a:r>
          </a:p>
        </p:txBody>
      </p:sp>
      <p:sp>
        <p:nvSpPr>
          <p:cNvPr id="19" name="Date Placeholder 24">
            <a:extLst>
              <a:ext uri="{FF2B5EF4-FFF2-40B4-BE49-F238E27FC236}">
                <a16:creationId xmlns:a16="http://schemas.microsoft.com/office/drawing/2014/main" xmlns="" id="{5B88CED3-7AE8-4789-8960-785F8CCFE6FE}"/>
              </a:ext>
            </a:extLst>
          </p:cNvPr>
          <p:cNvSpPr>
            <a:spLocks noGrp="1"/>
          </p:cNvSpPr>
          <p:nvPr>
            <p:ph type="dt" sz="half" idx="25"/>
          </p:nvPr>
        </p:nvSpPr>
        <p:spPr>
          <a:xfrm>
            <a:off x="407882" y="6555971"/>
            <a:ext cx="2828270" cy="219456"/>
          </a:xfrm>
        </p:spPr>
        <p:txBody>
          <a:bodyPr/>
          <a:lstStyle/>
          <a:p>
            <a:pPr>
              <a:lnSpc>
                <a:spcPct val="85000"/>
              </a:lnSpc>
            </a:pPr>
            <a:r>
              <a:rPr lang="en-US" dirty="0">
                <a:solidFill>
                  <a:srgbClr val="0070AD"/>
                </a:solidFill>
              </a:rPr>
              <a:t>Group IT Project Charter Template v14.1 | 01/05/2018</a:t>
            </a:r>
          </a:p>
        </p:txBody>
      </p:sp>
      <p:sp>
        <p:nvSpPr>
          <p:cNvPr id="20" name="Footer Placeholder 25">
            <a:extLst>
              <a:ext uri="{FF2B5EF4-FFF2-40B4-BE49-F238E27FC236}">
                <a16:creationId xmlns:a16="http://schemas.microsoft.com/office/drawing/2014/main" xmlns="" id="{BE045793-C7F8-419B-9875-3FE2A4B41A99}"/>
              </a:ext>
            </a:extLst>
          </p:cNvPr>
          <p:cNvSpPr>
            <a:spLocks noGrp="1"/>
          </p:cNvSpPr>
          <p:nvPr>
            <p:ph type="ftr" sz="quarter" idx="26"/>
          </p:nvPr>
        </p:nvSpPr>
        <p:spPr>
          <a:xfrm>
            <a:off x="9321679" y="6555758"/>
            <a:ext cx="2223107" cy="219456"/>
          </a:xfrm>
        </p:spPr>
        <p:txBody>
          <a:bodyPr/>
          <a:lstStyle/>
          <a:p>
            <a:r>
              <a:rPr lang="en-US" dirty="0">
                <a:solidFill>
                  <a:srgbClr val="E6E7E7">
                    <a:lumMod val="50000"/>
                  </a:srgbClr>
                </a:solidFill>
              </a:rPr>
              <a:t>© 2018 Capgemini. All rights reserved.</a:t>
            </a:r>
          </a:p>
        </p:txBody>
      </p:sp>
      <p:sp>
        <p:nvSpPr>
          <p:cNvPr id="21" name="Slide Number Placeholder 26">
            <a:extLst>
              <a:ext uri="{FF2B5EF4-FFF2-40B4-BE49-F238E27FC236}">
                <a16:creationId xmlns:a16="http://schemas.microsoft.com/office/drawing/2014/main" xmlns="" id="{95B62654-C51F-41B1-809E-14C75D877C87}"/>
              </a:ext>
            </a:extLst>
          </p:cNvPr>
          <p:cNvSpPr>
            <a:spLocks noGrp="1"/>
          </p:cNvSpPr>
          <p:nvPr>
            <p:ph type="sldNum" sz="quarter" idx="27"/>
          </p:nvPr>
        </p:nvSpPr>
        <p:spPr>
          <a:xfrm>
            <a:off x="11780944" y="6555758"/>
            <a:ext cx="123722" cy="215444"/>
          </a:xfrm>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pic>
        <p:nvPicPr>
          <p:cNvPr id="3" name="Image 2">
            <a:extLst>
              <a:ext uri="{FF2B5EF4-FFF2-40B4-BE49-F238E27FC236}">
                <a16:creationId xmlns:a16="http://schemas.microsoft.com/office/drawing/2014/main" xmlns="" id="{4F232EBE-7D6A-4A20-A3A7-01D1444326D7}"/>
              </a:ext>
            </a:extLst>
          </p:cNvPr>
          <p:cNvPicPr>
            <a:picLocks noChangeAspect="1"/>
          </p:cNvPicPr>
          <p:nvPr userDrawn="1"/>
        </p:nvPicPr>
        <p:blipFill>
          <a:blip r:embed="rId4"/>
          <a:stretch>
            <a:fillRect/>
          </a:stretch>
        </p:blipFill>
        <p:spPr>
          <a:xfrm>
            <a:off x="767060" y="1343026"/>
            <a:ext cx="6589584" cy="5514975"/>
          </a:xfrm>
          <a:prstGeom prst="rect">
            <a:avLst/>
          </a:prstGeom>
        </p:spPr>
      </p:pic>
    </p:spTree>
    <p:extLst>
      <p:ext uri="{BB962C8B-B14F-4D97-AF65-F5344CB8AC3E}">
        <p14:creationId xmlns:p14="http://schemas.microsoft.com/office/powerpoint/2010/main" val="33472414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Opener2">
    <p:bg>
      <p:bgPr>
        <a:solidFill>
          <a:schemeClr val="bg2"/>
        </a:solidFill>
        <a:effectLst/>
      </p:bgPr>
    </p:bg>
    <p:spTree>
      <p:nvGrpSpPr>
        <p:cNvPr id="1" name=""/>
        <p:cNvGrpSpPr/>
        <p:nvPr/>
      </p:nvGrpSpPr>
      <p:grpSpPr>
        <a:xfrm>
          <a:off x="0" y="0"/>
          <a:ext cx="0" cy="0"/>
          <a:chOff x="0" y="0"/>
          <a:chExt cx="0" cy="0"/>
        </a:xfrm>
      </p:grpSpPr>
      <p:pic>
        <p:nvPicPr>
          <p:cNvPr id="3" name="Image 2">
            <a:extLst>
              <a:ext uri="{FF2B5EF4-FFF2-40B4-BE49-F238E27FC236}">
                <a16:creationId xmlns="" xmlns:a16="http://schemas.microsoft.com/office/drawing/2014/main" id="{BB74C830-A24D-4081-A9B8-75398DD137C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 y="0"/>
            <a:ext cx="12202358" cy="6858000"/>
          </a:xfrm>
          <a:prstGeom prst="rect">
            <a:avLst/>
          </a:prstGeom>
        </p:spPr>
      </p:pic>
      <p:graphicFrame>
        <p:nvGraphicFramePr>
          <p:cNvPr id="9" name="Object 8"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42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335113" y="1268700"/>
            <a:ext cx="4750672" cy="1418714"/>
          </a:xfrm>
          <a:prstGeom prst="rect">
            <a:avLst/>
          </a:prstGeom>
        </p:spPr>
        <p:txBody>
          <a:bodyPr anchor="t">
            <a:normAutofit/>
          </a:bodyPr>
          <a:lstStyle>
            <a:lvl1pPr marL="0" indent="0" algn="l">
              <a:lnSpc>
                <a:spcPts val="2999"/>
              </a:lnSpc>
              <a:buNone/>
              <a:defRPr sz="2599">
                <a:solidFill>
                  <a:schemeClr val="accent1"/>
                </a:solidFill>
              </a:defRPr>
            </a:lvl1pPr>
            <a:lvl2pPr marL="457063" indent="0">
              <a:buNone/>
              <a:defRPr sz="5998">
                <a:solidFill>
                  <a:schemeClr val="bg1"/>
                </a:solidFill>
              </a:defRPr>
            </a:lvl2pPr>
          </a:lstStyle>
          <a:p>
            <a:pPr lvl="0"/>
            <a:r>
              <a:rPr lang="en-US" noProof="0"/>
              <a:t>Click to add section title</a:t>
            </a:r>
          </a:p>
        </p:txBody>
      </p:sp>
      <p:pic>
        <p:nvPicPr>
          <p:cNvPr id="10" name="Image 9">
            <a:extLst>
              <a:ext uri="{FF2B5EF4-FFF2-40B4-BE49-F238E27FC236}">
                <a16:creationId xmlns="" xmlns:a16="http://schemas.microsoft.com/office/drawing/2014/main" id="{00159F0D-65A6-4C38-8D72-0B133D6947D6}"/>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878439" y="6309401"/>
            <a:ext cx="1602085" cy="410899"/>
          </a:xfrm>
          <a:prstGeom prst="rect">
            <a:avLst/>
          </a:prstGeom>
        </p:spPr>
      </p:pic>
    </p:spTree>
    <p:extLst>
      <p:ext uri="{BB962C8B-B14F-4D97-AF65-F5344CB8AC3E}">
        <p14:creationId xmlns:p14="http://schemas.microsoft.com/office/powerpoint/2010/main" val="30652375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losing1">
    <p:bg>
      <p:bgPr>
        <a:solidFill>
          <a:srgbClr val="ECECE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52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1" name="Freeform 30"/>
          <p:cNvSpPr>
            <a:spLocks/>
          </p:cNvSpPr>
          <p:nvPr userDrawn="1"/>
        </p:nvSpPr>
        <p:spPr bwMode="auto">
          <a:xfrm>
            <a:off x="-1242687" y="-24026"/>
            <a:ext cx="7183844"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noAutofit/>
          </a:bodyPr>
          <a:lstStyle/>
          <a:p>
            <a:pPr defTabSz="914126"/>
            <a:endParaRPr lang="en-US" sz="1799" dirty="0">
              <a:solidFill>
                <a:prstClr val="black"/>
              </a:solidFill>
            </a:endParaRPr>
          </a:p>
        </p:txBody>
      </p:sp>
      <p:grpSp>
        <p:nvGrpSpPr>
          <p:cNvPr id="9" name="Group 8"/>
          <p:cNvGrpSpPr/>
          <p:nvPr userDrawn="1"/>
        </p:nvGrpSpPr>
        <p:grpSpPr>
          <a:xfrm>
            <a:off x="4977739" y="2404111"/>
            <a:ext cx="734822"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799" dirty="0">
                <a:solidFill>
                  <a:prstClr val="black"/>
                </a:solidFill>
              </a:endParaRPr>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US" sz="1799" dirty="0">
                <a:solidFill>
                  <a:prstClr val="black"/>
                </a:solidFill>
              </a:endParaRPr>
            </a:p>
          </p:txBody>
        </p:sp>
      </p:grpSp>
      <p:sp>
        <p:nvSpPr>
          <p:cNvPr id="14" name="Rectangle 13"/>
          <p:cNvSpPr/>
          <p:nvPr userDrawn="1"/>
        </p:nvSpPr>
        <p:spPr>
          <a:xfrm>
            <a:off x="6534482" y="2886346"/>
            <a:ext cx="4887283" cy="20548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defTabSz="914126">
              <a:lnSpc>
                <a:spcPts val="1200"/>
              </a:lnSpc>
            </a:pPr>
            <a:r>
              <a:rPr lang="en-US" sz="900" dirty="0">
                <a:solidFill>
                  <a:prstClr val="black"/>
                </a:solidFill>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a:p>
            <a:pPr algn="just" defTabSz="914126">
              <a:lnSpc>
                <a:spcPts val="1200"/>
              </a:lnSpc>
              <a:spcBef>
                <a:spcPts val="600"/>
              </a:spcBef>
            </a:pPr>
            <a:r>
              <a:rPr lang="en-US" sz="900" dirty="0">
                <a:solidFill>
                  <a:prstClr val="black"/>
                </a:solidFill>
              </a:rPr>
              <a:t>Visit us at</a:t>
            </a:r>
          </a:p>
          <a:p>
            <a:pPr algn="just" defTabSz="914126">
              <a:lnSpc>
                <a:spcPts val="1200"/>
              </a:lnSpc>
              <a:spcBef>
                <a:spcPts val="600"/>
              </a:spcBef>
              <a:defRPr/>
            </a:pPr>
            <a:r>
              <a:rPr lang="en-US" sz="1400" dirty="0">
                <a:solidFill>
                  <a:srgbClr val="12ABDB"/>
                </a:solidFill>
                <a:hlinkClick r:id="rId6"/>
              </a:rPr>
              <a:t>www.capgemini.com</a:t>
            </a:r>
            <a:endParaRPr lang="en-US" sz="1400" dirty="0">
              <a:solidFill>
                <a:srgbClr val="12ABDB"/>
              </a:solidFill>
            </a:endParaRPr>
          </a:p>
        </p:txBody>
      </p:sp>
      <p:sp>
        <p:nvSpPr>
          <p:cNvPr id="15" name="Rectangle 14"/>
          <p:cNvSpPr/>
          <p:nvPr userDrawn="1"/>
        </p:nvSpPr>
        <p:spPr>
          <a:xfrm>
            <a:off x="6534482" y="2507082"/>
            <a:ext cx="2219382"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914126">
              <a:lnSpc>
                <a:spcPts val="1999"/>
              </a:lnSpc>
            </a:pPr>
            <a:r>
              <a:rPr lang="en-US" sz="1400" dirty="0">
                <a:solidFill>
                  <a:srgbClr val="2B143D"/>
                </a:solidFill>
              </a:rPr>
              <a:t>About Capgemini</a:t>
            </a:r>
          </a:p>
        </p:txBody>
      </p:sp>
      <p:pic>
        <p:nvPicPr>
          <p:cNvPr id="17" name="Picture 2" descr="D:\My Work\Template\Icons\Social Media\LinkedIN.png">
            <a:hlinkClick r:id="rId7"/>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798208" y="3979258"/>
            <a:ext cx="333108" cy="333195"/>
          </a:xfrm>
          <a:prstGeom prst="rect">
            <a:avLst/>
          </a:prstGeom>
          <a:noFill/>
        </p:spPr>
      </p:pic>
      <p:pic>
        <p:nvPicPr>
          <p:cNvPr id="18" name="Picture 4" descr="D:\My Work\Template\Icons\Social Media\SlideShare.png">
            <a:hlinkClick r:id="rId9"/>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1181485" y="3979258"/>
            <a:ext cx="333108" cy="333195"/>
          </a:xfrm>
          <a:prstGeom prst="rect">
            <a:avLst/>
          </a:prstGeom>
          <a:noFill/>
        </p:spPr>
      </p:pic>
      <p:pic>
        <p:nvPicPr>
          <p:cNvPr id="19" name="Picture 5" descr="D:\My Work\Template\Icons\Social Media\Twitter.png">
            <a:hlinkClick r:id="rId11"/>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564762" y="3979258"/>
            <a:ext cx="333108" cy="333195"/>
          </a:xfrm>
          <a:prstGeom prst="rect">
            <a:avLst/>
          </a:prstGeom>
          <a:noFill/>
        </p:spPr>
      </p:pic>
      <p:pic>
        <p:nvPicPr>
          <p:cNvPr id="20" name="Picture 6" descr="D:\My Work\Template\Icons\Social Media\YouTube.png">
            <a:hlinkClick r:id="rId13"/>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948038" y="3979258"/>
            <a:ext cx="333108" cy="333195"/>
          </a:xfrm>
          <a:prstGeom prst="rect">
            <a:avLst/>
          </a:prstGeom>
          <a:noFill/>
        </p:spPr>
      </p:pic>
      <p:pic>
        <p:nvPicPr>
          <p:cNvPr id="21" name="Picture 7" descr="D:\My Work\Template\Icons\Social Media\Facebook.png">
            <a:hlinkClick r:id="rId15"/>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414931" y="3979258"/>
            <a:ext cx="333108" cy="333195"/>
          </a:xfrm>
          <a:prstGeom prst="rect">
            <a:avLst/>
          </a:prstGeom>
          <a:noFill/>
        </p:spPr>
      </p:pic>
      <p:sp>
        <p:nvSpPr>
          <p:cNvPr id="23" name="Rectangle 22"/>
          <p:cNvSpPr/>
          <p:nvPr userDrawn="1"/>
        </p:nvSpPr>
        <p:spPr>
          <a:xfrm>
            <a:off x="414930" y="5640914"/>
            <a:ext cx="4197527" cy="569387"/>
          </a:xfrm>
          <a:prstGeom prst="rect">
            <a:avLst/>
          </a:prstGeom>
        </p:spPr>
        <p:txBody>
          <a:bodyPr wrap="square" lIns="0" tIns="0" rIns="0" bIns="0" anchor="b" anchorCtr="0">
            <a:spAutoFit/>
          </a:bodyPr>
          <a:lstStyle/>
          <a:p>
            <a:pPr defTabSz="914126">
              <a:spcAft>
                <a:spcPts val="600"/>
              </a:spcAft>
            </a:pPr>
            <a:r>
              <a:rPr lang="en-US" sz="800" dirty="0">
                <a:solidFill>
                  <a:srgbClr val="FFFFFF"/>
                </a:solidFill>
                <a:cs typeface="Arial"/>
              </a:rPr>
              <a:t>This message contains information that may be privileged or confidential and is the property of the Capgemini Group.</a:t>
            </a:r>
            <a:br>
              <a:rPr lang="en-US" sz="800" dirty="0">
                <a:solidFill>
                  <a:srgbClr val="FFFFFF"/>
                </a:solidFill>
                <a:cs typeface="Arial"/>
              </a:rPr>
            </a:br>
            <a:r>
              <a:rPr lang="en-US" sz="800" dirty="0">
                <a:solidFill>
                  <a:srgbClr val="FFFFFF"/>
                </a:solidFill>
                <a:latin typeface="Arial"/>
                <a:cs typeface="Arial"/>
              </a:rPr>
              <a:t>Copyright © 2018 Capgemini. All rights reserved.</a:t>
            </a:r>
          </a:p>
          <a:p>
            <a:pPr defTabSz="957469">
              <a:spcAft>
                <a:spcPts val="600"/>
              </a:spcAft>
              <a:defRPr/>
            </a:pPr>
            <a:r>
              <a:rPr lang="en-US" sz="800" dirty="0">
                <a:solidFill>
                  <a:srgbClr val="FFFFFF"/>
                </a:solidFill>
                <a:latin typeface="Arial"/>
                <a:cs typeface="Arial"/>
              </a:rPr>
              <a:t>Rightshore</a:t>
            </a:r>
            <a:r>
              <a:rPr lang="en-US" sz="800" baseline="30000" dirty="0">
                <a:solidFill>
                  <a:srgbClr val="FFFFFF"/>
                </a:solidFill>
                <a:latin typeface="Arial"/>
                <a:cs typeface="Arial"/>
              </a:rPr>
              <a:t>®</a:t>
            </a:r>
            <a:r>
              <a:rPr lang="en-US" sz="800" dirty="0">
                <a:solidFill>
                  <a:srgbClr val="FFFFFF"/>
                </a:solidFill>
                <a:latin typeface="Arial"/>
                <a:cs typeface="Arial"/>
              </a:rPr>
              <a:t> is a trademark belonging to Capgemini.</a:t>
            </a:r>
          </a:p>
        </p:txBody>
      </p:sp>
      <p:sp>
        <p:nvSpPr>
          <p:cNvPr id="24" name="Rectangle 23"/>
          <p:cNvSpPr/>
          <p:nvPr userDrawn="1"/>
        </p:nvSpPr>
        <p:spPr>
          <a:xfrm>
            <a:off x="6534482" y="5933303"/>
            <a:ext cx="5218340" cy="276999"/>
          </a:xfrm>
          <a:prstGeom prst="rect">
            <a:avLst/>
          </a:prstGeom>
        </p:spPr>
        <p:txBody>
          <a:bodyPr wrap="square" lIns="0" tIns="0" rIns="0" bIns="0" anchor="b" anchorCtr="0">
            <a:spAutoFit/>
          </a:bodyPr>
          <a:lstStyle/>
          <a:p>
            <a:pPr defTabSz="914126">
              <a:spcAft>
                <a:spcPts val="600"/>
              </a:spcAft>
            </a:pPr>
            <a:r>
              <a:rPr lang="en-US" sz="600" dirty="0">
                <a:solidFill>
                  <a:prstClr val="black"/>
                </a:solidFill>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07466" y="4434172"/>
            <a:ext cx="2559653" cy="201012"/>
          </a:xfrm>
          <a:prstGeom prst="rect">
            <a:avLst/>
          </a:prstGeom>
        </p:spPr>
      </p:pic>
      <p:pic>
        <p:nvPicPr>
          <p:cNvPr id="22"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18">
            <a:extLst>
              <a:ext uri="{96DAC541-7B7A-43D3-8B79-37D633B846F1}">
                <asvg:svgBlip xmlns="" xmlns:asvg="http://schemas.microsoft.com/office/drawing/2016/SVG/main" r:embed="rId19"/>
              </a:ext>
            </a:extLst>
          </a:blip>
          <a:srcRect l="81836" t="-4713" b="16530"/>
          <a:stretch/>
        </p:blipFill>
        <p:spPr>
          <a:xfrm>
            <a:off x="11544786" y="188640"/>
            <a:ext cx="424245" cy="459624"/>
          </a:xfrm>
          <a:prstGeom prst="rect">
            <a:avLst/>
          </a:prstGeom>
        </p:spPr>
      </p:pic>
    </p:spTree>
    <p:extLst>
      <p:ext uri="{BB962C8B-B14F-4D97-AF65-F5344CB8AC3E}">
        <p14:creationId xmlns:p14="http://schemas.microsoft.com/office/powerpoint/2010/main" val="30981795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0" y="3"/>
          <a:ext cx="180952" cy="143985"/>
        </p:xfrm>
        <a:graphic>
          <a:graphicData uri="http://schemas.openxmlformats.org/presentationml/2006/ole">
            <mc:AlternateContent xmlns:mc="http://schemas.openxmlformats.org/markup-compatibility/2006">
              <mc:Choice xmlns:v="urn:schemas-microsoft-com:vml" Requires="v">
                <p:oleObj spid="_x0000_s46311"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
                        <a:ext cx="180952"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lgn="l" defTabSz="1038442" rtl="0" eaLnBrk="1" latinLnBrk="0" hangingPunct="1">
              <a:lnSpc>
                <a:spcPct val="100000"/>
              </a:lnSpc>
              <a:spcBef>
                <a:spcPct val="0"/>
              </a:spcBef>
              <a:buNone/>
              <a:defRPr lang="en-US" sz="2599" b="0" kern="1200" noProof="0" dirty="0">
                <a:solidFill>
                  <a:schemeClr val="tx1"/>
                </a:solidFill>
                <a:latin typeface="Arial"/>
                <a:ea typeface="+mj-ea"/>
                <a:cs typeface="+mj-cs"/>
              </a:defRPr>
            </a:lvl1pPr>
          </a:lstStyle>
          <a:p>
            <a:r>
              <a:rPr lang="en-US" noProof="0" dirty="0"/>
              <a:t>Click to edit Master title style</a:t>
            </a:r>
            <a:endParaRPr lang="en-US" dirty="0"/>
          </a:p>
        </p:txBody>
      </p:sp>
      <p:sp>
        <p:nvSpPr>
          <p:cNvPr id="3" name="Content Placeholder 2"/>
          <p:cNvSpPr>
            <a:spLocks noGrp="1"/>
          </p:cNvSpPr>
          <p:nvPr>
            <p:ph idx="1"/>
            <p:custDataLst>
              <p:tags r:id="rId4"/>
            </p:custDataLst>
          </p:nvPr>
        </p:nvSpPr>
        <p:spPr>
          <a:xfrm>
            <a:off x="419969" y="1495427"/>
            <a:ext cx="11348890" cy="4772025"/>
          </a:xfrm>
        </p:spPr>
        <p:txBody>
          <a:bodyPr/>
          <a:lstStyle>
            <a:lvl1pPr indent="-259627" algn="l" defTabSz="1038442" rtl="0" eaLnBrk="1" latinLnBrk="0" hangingPunct="1">
              <a:lnSpc>
                <a:spcPct val="100000"/>
              </a:lnSpc>
              <a:spcBef>
                <a:spcPts val="0"/>
              </a:spcBef>
              <a:spcAft>
                <a:spcPts val="600"/>
              </a:spcAft>
              <a:buClr>
                <a:schemeClr val="accent1"/>
              </a:buClr>
              <a:defRPr lang="en-US" sz="1999" b="0" kern="1200" noProof="0" dirty="0" smtClean="0">
                <a:solidFill>
                  <a:schemeClr val="bg2">
                    <a:lumMod val="50000"/>
                  </a:schemeClr>
                </a:solidFill>
                <a:latin typeface="+mn-lt"/>
                <a:ea typeface="+mn-ea"/>
                <a:cs typeface="+mn-cs"/>
              </a:defRPr>
            </a:lvl1pPr>
            <a:lvl2pPr marL="519254" indent="-259627" algn="l" defTabSz="1038442" rtl="0" eaLnBrk="1" latinLnBrk="0" hangingPunct="1">
              <a:lnSpc>
                <a:spcPct val="100000"/>
              </a:lnSpc>
              <a:spcBef>
                <a:spcPts val="0"/>
              </a:spcBef>
              <a:spcAft>
                <a:spcPts val="600"/>
              </a:spcAft>
              <a:buClr>
                <a:schemeClr val="accent1"/>
              </a:buClr>
              <a:defRPr lang="en-US" sz="1799" b="0" kern="1200" noProof="0" dirty="0" smtClean="0">
                <a:solidFill>
                  <a:schemeClr val="bg2">
                    <a:lumMod val="50000"/>
                  </a:schemeClr>
                </a:solidFill>
                <a:latin typeface="+mn-lt"/>
                <a:ea typeface="+mn-ea"/>
                <a:cs typeface="+mn-cs"/>
              </a:defRPr>
            </a:lvl2pPr>
            <a:lvl3pPr marL="778882" indent="-259627" algn="l" defTabSz="1038442" rtl="0" eaLnBrk="1" latinLnBrk="0" hangingPunct="1">
              <a:lnSpc>
                <a:spcPct val="100000"/>
              </a:lnSpc>
              <a:spcBef>
                <a:spcPts val="0"/>
              </a:spcBef>
              <a:spcAft>
                <a:spcPts val="600"/>
              </a:spcAft>
              <a:buClr>
                <a:schemeClr val="accent1"/>
              </a:buClr>
              <a:defRPr lang="en-US" sz="1600" b="0" kern="1200" noProof="0" dirty="0" smtClean="0">
                <a:solidFill>
                  <a:schemeClr val="bg2">
                    <a:lumMod val="50000"/>
                  </a:schemeClr>
                </a:solidFill>
                <a:latin typeface="+mn-lt"/>
                <a:ea typeface="+mn-ea"/>
                <a:cs typeface="+mn-cs"/>
              </a:defRPr>
            </a:lvl3pPr>
            <a:lvl4pPr indent="-259627" algn="l" defTabSz="1038442" rtl="0" eaLnBrk="1" latinLnBrk="0" hangingPunct="1">
              <a:lnSpc>
                <a:spcPct val="100000"/>
              </a:lnSpc>
              <a:spcBef>
                <a:spcPts val="0"/>
              </a:spcBef>
              <a:spcAft>
                <a:spcPts val="600"/>
              </a:spcAft>
              <a:buClr>
                <a:schemeClr val="accent1"/>
              </a:buClr>
              <a:defRPr lang="en-US" sz="1400" b="0" kern="1200" noProof="0" dirty="0" smtClean="0">
                <a:solidFill>
                  <a:schemeClr val="bg2">
                    <a:lumMod val="50000"/>
                  </a:schemeClr>
                </a:solidFill>
                <a:latin typeface="+mn-lt"/>
                <a:ea typeface="+mn-ea"/>
                <a:cs typeface="+mn-cs"/>
              </a:defRPr>
            </a:lvl4pPr>
            <a:lvl5pPr>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27801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7982" y="6356353"/>
            <a:ext cx="2742486" cy="365125"/>
          </a:xfrm>
          <a:prstGeom prst="rect">
            <a:avLst/>
          </a:prstGeom>
        </p:spPr>
        <p:txBody>
          <a:bodyPr/>
          <a:lstStyle/>
          <a:p>
            <a:fld id="{64578F15-8CA8-451A-8BE5-D040AF3525E5}" type="datetimeFigureOut">
              <a:rPr lang="en-US">
                <a:solidFill>
                  <a:srgbClr val="0070AD"/>
                </a:solidFill>
              </a:rPr>
              <a:pPr/>
              <a:t>12/4/2019</a:t>
            </a:fld>
            <a:endParaRPr lang="en-US" dirty="0">
              <a:solidFill>
                <a:srgbClr val="0070AD"/>
              </a:solidFill>
            </a:endParaRPr>
          </a:p>
        </p:txBody>
      </p:sp>
      <p:sp>
        <p:nvSpPr>
          <p:cNvPr id="5" name="Footer Placeholder 4"/>
          <p:cNvSpPr>
            <a:spLocks noGrp="1"/>
          </p:cNvSpPr>
          <p:nvPr>
            <p:ph type="ftr" sz="quarter" idx="11"/>
          </p:nvPr>
        </p:nvSpPr>
        <p:spPr>
          <a:xfrm>
            <a:off x="4037549" y="6356353"/>
            <a:ext cx="4113728" cy="365125"/>
          </a:xfrm>
          <a:prstGeom prst="rect">
            <a:avLst/>
          </a:prstGeom>
        </p:spPr>
        <p:txBody>
          <a:bodyPr/>
          <a:lstStyle/>
          <a:p>
            <a:endParaRPr lang="en-US" dirty="0">
              <a:solidFill>
                <a:srgbClr val="E6E7E7">
                  <a:lumMod val="50000"/>
                </a:srgbClr>
              </a:solidFill>
            </a:endParaRPr>
          </a:p>
        </p:txBody>
      </p:sp>
      <p:sp>
        <p:nvSpPr>
          <p:cNvPr id="6" name="Slide Number Placeholder 5"/>
          <p:cNvSpPr>
            <a:spLocks noGrp="1"/>
          </p:cNvSpPr>
          <p:nvPr>
            <p:ph type="sldNum" sz="quarter" idx="12"/>
          </p:nvPr>
        </p:nvSpPr>
        <p:spPr>
          <a:xfrm>
            <a:off x="8608357" y="6356353"/>
            <a:ext cx="2742486" cy="365125"/>
          </a:xfrm>
          <a:prstGeom prst="rect">
            <a:avLst/>
          </a:prstGeom>
        </p:spPr>
        <p:txBody>
          <a:bodyPr/>
          <a:lstStyle/>
          <a:p>
            <a:fld id="{01517FAB-9F2A-4652-ABD4-A0B08D06F8E2}" type="slidenum">
              <a:rPr lang="en-US">
                <a:solidFill>
                  <a:srgbClr val="E6E7E7">
                    <a:lumMod val="50000"/>
                  </a:srgbClr>
                </a:solidFill>
              </a:rPr>
              <a:pPr/>
              <a:t>‹#›</a:t>
            </a:fld>
            <a:endParaRPr lang="en-US" dirty="0">
              <a:solidFill>
                <a:srgbClr val="E6E7E7">
                  <a:lumMod val="50000"/>
                </a:srgbClr>
              </a:solidFill>
            </a:endParaRPr>
          </a:p>
        </p:txBody>
      </p:sp>
    </p:spTree>
    <p:extLst>
      <p:ext uri="{BB962C8B-B14F-4D97-AF65-F5344CB8AC3E}">
        <p14:creationId xmlns:p14="http://schemas.microsoft.com/office/powerpoint/2010/main" val="3458372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19" name="Picture 6" descr="D:\My Work\ODS\TEMPLATES\Group Comp VI\11-02\Group-IT-final-VI-ppt.jpg"/>
          <p:cNvPicPr>
            <a:picLocks noChangeAspect="1" noChangeArrowheads="1"/>
          </p:cNvPicPr>
          <p:nvPr userDrawn="1"/>
        </p:nvPicPr>
        <p:blipFill>
          <a:blip r:embed="rId7"/>
          <a:srcRect b="5667"/>
          <a:stretch>
            <a:fillRect/>
          </a:stretch>
        </p:blipFill>
        <p:spPr bwMode="auto">
          <a:xfrm>
            <a:off x="3048" y="287975"/>
            <a:ext cx="12192000" cy="6570027"/>
          </a:xfrm>
          <a:prstGeom prst="rect">
            <a:avLst/>
          </a:prstGeom>
          <a:noFill/>
          <a:ln>
            <a:noFill/>
          </a:ln>
        </p:spPr>
      </p:pic>
      <p:sp>
        <p:nvSpPr>
          <p:cNvPr id="12" name="Freeform 18"/>
          <p:cNvSpPr>
            <a:spLocks/>
          </p:cNvSpPr>
          <p:nvPr userDrawn="1"/>
        </p:nvSpPr>
        <p:spPr bwMode="auto">
          <a:xfrm>
            <a:off x="1" y="0"/>
            <a:ext cx="12188825" cy="2659062"/>
          </a:xfrm>
          <a:custGeom>
            <a:avLst/>
            <a:gdLst>
              <a:gd name="connsiteX0" fmla="*/ 0 w 10013"/>
              <a:gd name="connsiteY0" fmla="*/ 0 h 10000"/>
              <a:gd name="connsiteX1" fmla="*/ 9987 w 10013"/>
              <a:gd name="connsiteY1" fmla="*/ 0 h 10000"/>
              <a:gd name="connsiteX2" fmla="*/ 10000 w 10013"/>
              <a:gd name="connsiteY2" fmla="*/ 4514 h 10000"/>
              <a:gd name="connsiteX3" fmla="*/ 9014 w 10013"/>
              <a:gd name="connsiteY3" fmla="*/ 7280 h 10000"/>
              <a:gd name="connsiteX4" fmla="*/ 1770 w 10013"/>
              <a:gd name="connsiteY4" fmla="*/ 7280 h 10000"/>
              <a:gd name="connsiteX5" fmla="*/ 901 w 10013"/>
              <a:gd name="connsiteY5" fmla="*/ 10000 h 10000"/>
              <a:gd name="connsiteX6" fmla="*/ 0 w 10013"/>
              <a:gd name="connsiteY6" fmla="*/ 7280 h 10000"/>
              <a:gd name="connsiteX7" fmla="*/ 0 w 10013"/>
              <a:gd name="connsiteY7" fmla="*/ 0 h 10000"/>
              <a:gd name="connsiteX0" fmla="*/ 0 w 10013"/>
              <a:gd name="connsiteY0" fmla="*/ 0 h 10000"/>
              <a:gd name="connsiteX1" fmla="*/ 9762 w 10013"/>
              <a:gd name="connsiteY1" fmla="*/ 1204 h 10000"/>
              <a:gd name="connsiteX2" fmla="*/ 10000 w 10013"/>
              <a:gd name="connsiteY2" fmla="*/ 4514 h 10000"/>
              <a:gd name="connsiteX3" fmla="*/ 9014 w 10013"/>
              <a:gd name="connsiteY3" fmla="*/ 7280 h 10000"/>
              <a:gd name="connsiteX4" fmla="*/ 1770 w 10013"/>
              <a:gd name="connsiteY4" fmla="*/ 7280 h 10000"/>
              <a:gd name="connsiteX5" fmla="*/ 901 w 10013"/>
              <a:gd name="connsiteY5" fmla="*/ 10000 h 10000"/>
              <a:gd name="connsiteX6" fmla="*/ 0 w 10013"/>
              <a:gd name="connsiteY6" fmla="*/ 7280 h 10000"/>
              <a:gd name="connsiteX7" fmla="*/ 0 w 10013"/>
              <a:gd name="connsiteY7" fmla="*/ 0 h 10000"/>
              <a:gd name="connsiteX0" fmla="*/ 0 w 10013"/>
              <a:gd name="connsiteY0" fmla="*/ 0 h 10000"/>
              <a:gd name="connsiteX1" fmla="*/ 10000 w 10013"/>
              <a:gd name="connsiteY1" fmla="*/ 0 h 10000"/>
              <a:gd name="connsiteX2" fmla="*/ 10000 w 10013"/>
              <a:gd name="connsiteY2" fmla="*/ 4514 h 10000"/>
              <a:gd name="connsiteX3" fmla="*/ 9014 w 10013"/>
              <a:gd name="connsiteY3" fmla="*/ 7280 h 10000"/>
              <a:gd name="connsiteX4" fmla="*/ 1770 w 10013"/>
              <a:gd name="connsiteY4" fmla="*/ 7280 h 10000"/>
              <a:gd name="connsiteX5" fmla="*/ 901 w 10013"/>
              <a:gd name="connsiteY5" fmla="*/ 10000 h 10000"/>
              <a:gd name="connsiteX6" fmla="*/ 0 w 10013"/>
              <a:gd name="connsiteY6" fmla="*/ 7280 h 10000"/>
              <a:gd name="connsiteX7" fmla="*/ 0 w 10013"/>
              <a:gd name="connsiteY7" fmla="*/ 0 h 10000"/>
              <a:gd name="connsiteX0" fmla="*/ 0 w 10000"/>
              <a:gd name="connsiteY0" fmla="*/ 0 h 10000"/>
              <a:gd name="connsiteX1" fmla="*/ 10000 w 10000"/>
              <a:gd name="connsiteY1" fmla="*/ 0 h 10000"/>
              <a:gd name="connsiteX2" fmla="*/ 10000 w 10000"/>
              <a:gd name="connsiteY2" fmla="*/ 4514 h 10000"/>
              <a:gd name="connsiteX3" fmla="*/ 9014 w 10000"/>
              <a:gd name="connsiteY3" fmla="*/ 7280 h 10000"/>
              <a:gd name="connsiteX4" fmla="*/ 1770 w 10000"/>
              <a:gd name="connsiteY4" fmla="*/ 7280 h 10000"/>
              <a:gd name="connsiteX5" fmla="*/ 901 w 10000"/>
              <a:gd name="connsiteY5" fmla="*/ 10000 h 10000"/>
              <a:gd name="connsiteX6" fmla="*/ 0 w 10000"/>
              <a:gd name="connsiteY6" fmla="*/ 7280 h 10000"/>
              <a:gd name="connsiteX7" fmla="*/ 0 w 10000"/>
              <a:gd name="connsiteY7" fmla="*/ 0 h 10000"/>
              <a:gd name="connsiteX0" fmla="*/ 0 w 10000"/>
              <a:gd name="connsiteY0" fmla="*/ 0 h 10000"/>
              <a:gd name="connsiteX1" fmla="*/ 10000 w 10000"/>
              <a:gd name="connsiteY1" fmla="*/ 0 h 10000"/>
              <a:gd name="connsiteX2" fmla="*/ 10000 w 10000"/>
              <a:gd name="connsiteY2" fmla="*/ 4514 h 10000"/>
              <a:gd name="connsiteX3" fmla="*/ 9014 w 10000"/>
              <a:gd name="connsiteY3" fmla="*/ 7280 h 10000"/>
              <a:gd name="connsiteX4" fmla="*/ 1770 w 10000"/>
              <a:gd name="connsiteY4" fmla="*/ 7280 h 10000"/>
              <a:gd name="connsiteX5" fmla="*/ 901 w 10000"/>
              <a:gd name="connsiteY5" fmla="*/ 10000 h 10000"/>
              <a:gd name="connsiteX6" fmla="*/ 0 w 10000"/>
              <a:gd name="connsiteY6" fmla="*/ 7314 h 10000"/>
              <a:gd name="connsiteX7" fmla="*/ 0 w 10000"/>
              <a:gd name="connsiteY7" fmla="*/ 0 h 10000"/>
              <a:gd name="connsiteX0" fmla="*/ 0 w 10000"/>
              <a:gd name="connsiteY0" fmla="*/ 0 h 10000"/>
              <a:gd name="connsiteX1" fmla="*/ 10000 w 10000"/>
              <a:gd name="connsiteY1" fmla="*/ 0 h 10000"/>
              <a:gd name="connsiteX2" fmla="*/ 10000 w 10000"/>
              <a:gd name="connsiteY2" fmla="*/ 4514 h 10000"/>
              <a:gd name="connsiteX3" fmla="*/ 9014 w 10000"/>
              <a:gd name="connsiteY3" fmla="*/ 7280 h 10000"/>
              <a:gd name="connsiteX4" fmla="*/ 1770 w 10000"/>
              <a:gd name="connsiteY4" fmla="*/ 7280 h 10000"/>
              <a:gd name="connsiteX5" fmla="*/ 901 w 10000"/>
              <a:gd name="connsiteY5" fmla="*/ 10000 h 10000"/>
              <a:gd name="connsiteX6" fmla="*/ 0 w 10000"/>
              <a:gd name="connsiteY6" fmla="*/ 7314 h 10000"/>
              <a:gd name="connsiteX7" fmla="*/ 360 w 10000"/>
              <a:gd name="connsiteY7" fmla="*/ 1238 h 10000"/>
              <a:gd name="connsiteX0" fmla="*/ 0 w 10000"/>
              <a:gd name="connsiteY0" fmla="*/ 0 h 10000"/>
              <a:gd name="connsiteX1" fmla="*/ 10000 w 10000"/>
              <a:gd name="connsiteY1" fmla="*/ 0 h 10000"/>
              <a:gd name="connsiteX2" fmla="*/ 10000 w 10000"/>
              <a:gd name="connsiteY2" fmla="*/ 4514 h 10000"/>
              <a:gd name="connsiteX3" fmla="*/ 9014 w 10000"/>
              <a:gd name="connsiteY3" fmla="*/ 7280 h 10000"/>
              <a:gd name="connsiteX4" fmla="*/ 1770 w 10000"/>
              <a:gd name="connsiteY4" fmla="*/ 7280 h 10000"/>
              <a:gd name="connsiteX5" fmla="*/ 901 w 10000"/>
              <a:gd name="connsiteY5" fmla="*/ 10000 h 10000"/>
              <a:gd name="connsiteX6" fmla="*/ 0 w 10000"/>
              <a:gd name="connsiteY6" fmla="*/ 7314 h 10000"/>
              <a:gd name="connsiteX0" fmla="*/ 0 w 10000"/>
              <a:gd name="connsiteY0" fmla="*/ 0 h 10000"/>
              <a:gd name="connsiteX1" fmla="*/ 293 w 10000"/>
              <a:gd name="connsiteY1" fmla="*/ 1272 h 10000"/>
              <a:gd name="connsiteX2" fmla="*/ 10000 w 10000"/>
              <a:gd name="connsiteY2" fmla="*/ 0 h 10000"/>
              <a:gd name="connsiteX3" fmla="*/ 10000 w 10000"/>
              <a:gd name="connsiteY3" fmla="*/ 4514 h 10000"/>
              <a:gd name="connsiteX4" fmla="*/ 9014 w 10000"/>
              <a:gd name="connsiteY4" fmla="*/ 7280 h 10000"/>
              <a:gd name="connsiteX5" fmla="*/ 1770 w 10000"/>
              <a:gd name="connsiteY5" fmla="*/ 7280 h 10000"/>
              <a:gd name="connsiteX6" fmla="*/ 901 w 10000"/>
              <a:gd name="connsiteY6" fmla="*/ 10000 h 10000"/>
              <a:gd name="connsiteX7" fmla="*/ 0 w 10000"/>
              <a:gd name="connsiteY7" fmla="*/ 7314 h 10000"/>
              <a:gd name="connsiteX0" fmla="*/ 0 w 10000"/>
              <a:gd name="connsiteY0" fmla="*/ 752 h 10752"/>
              <a:gd name="connsiteX1" fmla="*/ 10000 w 10000"/>
              <a:gd name="connsiteY1" fmla="*/ 752 h 10752"/>
              <a:gd name="connsiteX2" fmla="*/ 10000 w 10000"/>
              <a:gd name="connsiteY2" fmla="*/ 5266 h 10752"/>
              <a:gd name="connsiteX3" fmla="*/ 9014 w 10000"/>
              <a:gd name="connsiteY3" fmla="*/ 8032 h 10752"/>
              <a:gd name="connsiteX4" fmla="*/ 1770 w 10000"/>
              <a:gd name="connsiteY4" fmla="*/ 8032 h 10752"/>
              <a:gd name="connsiteX5" fmla="*/ 901 w 10000"/>
              <a:gd name="connsiteY5" fmla="*/ 10752 h 10752"/>
              <a:gd name="connsiteX6" fmla="*/ 0 w 10000"/>
              <a:gd name="connsiteY6" fmla="*/ 8066 h 10752"/>
              <a:gd name="connsiteX0" fmla="*/ 368 w 10000"/>
              <a:gd name="connsiteY0" fmla="*/ 1887 h 10752"/>
              <a:gd name="connsiteX1" fmla="*/ 10000 w 10000"/>
              <a:gd name="connsiteY1" fmla="*/ 752 h 10752"/>
              <a:gd name="connsiteX2" fmla="*/ 10000 w 10000"/>
              <a:gd name="connsiteY2" fmla="*/ 5266 h 10752"/>
              <a:gd name="connsiteX3" fmla="*/ 9014 w 10000"/>
              <a:gd name="connsiteY3" fmla="*/ 8032 h 10752"/>
              <a:gd name="connsiteX4" fmla="*/ 1770 w 10000"/>
              <a:gd name="connsiteY4" fmla="*/ 8032 h 10752"/>
              <a:gd name="connsiteX5" fmla="*/ 901 w 10000"/>
              <a:gd name="connsiteY5" fmla="*/ 10752 h 10752"/>
              <a:gd name="connsiteX6" fmla="*/ 0 w 10000"/>
              <a:gd name="connsiteY6" fmla="*/ 8066 h 10752"/>
              <a:gd name="connsiteX0" fmla="*/ 0 w 10000"/>
              <a:gd name="connsiteY0" fmla="*/ 752 h 10752"/>
              <a:gd name="connsiteX1" fmla="*/ 10000 w 10000"/>
              <a:gd name="connsiteY1" fmla="*/ 752 h 10752"/>
              <a:gd name="connsiteX2" fmla="*/ 10000 w 10000"/>
              <a:gd name="connsiteY2" fmla="*/ 5266 h 10752"/>
              <a:gd name="connsiteX3" fmla="*/ 9014 w 10000"/>
              <a:gd name="connsiteY3" fmla="*/ 8032 h 10752"/>
              <a:gd name="connsiteX4" fmla="*/ 1770 w 10000"/>
              <a:gd name="connsiteY4" fmla="*/ 8032 h 10752"/>
              <a:gd name="connsiteX5" fmla="*/ 901 w 10000"/>
              <a:gd name="connsiteY5" fmla="*/ 10752 h 10752"/>
              <a:gd name="connsiteX6" fmla="*/ 0 w 10000"/>
              <a:gd name="connsiteY6" fmla="*/ 8066 h 10752"/>
              <a:gd name="connsiteX0" fmla="*/ 0 w 10000"/>
              <a:gd name="connsiteY0" fmla="*/ 752 h 10752"/>
              <a:gd name="connsiteX1" fmla="*/ 10000 w 10000"/>
              <a:gd name="connsiteY1" fmla="*/ 752 h 10752"/>
              <a:gd name="connsiteX2" fmla="*/ 10000 w 10000"/>
              <a:gd name="connsiteY2" fmla="*/ 5266 h 10752"/>
              <a:gd name="connsiteX3" fmla="*/ 9014 w 10000"/>
              <a:gd name="connsiteY3" fmla="*/ 8032 h 10752"/>
              <a:gd name="connsiteX4" fmla="*/ 1770 w 10000"/>
              <a:gd name="connsiteY4" fmla="*/ 8032 h 10752"/>
              <a:gd name="connsiteX5" fmla="*/ 901 w 10000"/>
              <a:gd name="connsiteY5" fmla="*/ 10752 h 10752"/>
              <a:gd name="connsiteX6" fmla="*/ 188 w 10000"/>
              <a:gd name="connsiteY6" fmla="*/ 8066 h 10752"/>
              <a:gd name="connsiteX0" fmla="*/ 0 w 10000"/>
              <a:gd name="connsiteY0" fmla="*/ 752 h 10752"/>
              <a:gd name="connsiteX1" fmla="*/ 10000 w 10000"/>
              <a:gd name="connsiteY1" fmla="*/ 752 h 10752"/>
              <a:gd name="connsiteX2" fmla="*/ 10000 w 10000"/>
              <a:gd name="connsiteY2" fmla="*/ 5266 h 10752"/>
              <a:gd name="connsiteX3" fmla="*/ 9014 w 10000"/>
              <a:gd name="connsiteY3" fmla="*/ 8032 h 10752"/>
              <a:gd name="connsiteX4" fmla="*/ 1770 w 10000"/>
              <a:gd name="connsiteY4" fmla="*/ 8032 h 10752"/>
              <a:gd name="connsiteX5" fmla="*/ 901 w 10000"/>
              <a:gd name="connsiteY5" fmla="*/ 10752 h 10752"/>
              <a:gd name="connsiteX6" fmla="*/ 0 w 10000"/>
              <a:gd name="connsiteY6" fmla="*/ 8066 h 10752"/>
              <a:gd name="connsiteX0" fmla="*/ 0 w 10000"/>
              <a:gd name="connsiteY0" fmla="*/ 0 h 10000"/>
              <a:gd name="connsiteX1" fmla="*/ 10000 w 10000"/>
              <a:gd name="connsiteY1" fmla="*/ 0 h 10000"/>
              <a:gd name="connsiteX2" fmla="*/ 10000 w 10000"/>
              <a:gd name="connsiteY2" fmla="*/ 4514 h 10000"/>
              <a:gd name="connsiteX3" fmla="*/ 9014 w 10000"/>
              <a:gd name="connsiteY3" fmla="*/ 7280 h 10000"/>
              <a:gd name="connsiteX4" fmla="*/ 1770 w 10000"/>
              <a:gd name="connsiteY4" fmla="*/ 7280 h 10000"/>
              <a:gd name="connsiteX5" fmla="*/ 901 w 10000"/>
              <a:gd name="connsiteY5" fmla="*/ 10000 h 10000"/>
              <a:gd name="connsiteX6" fmla="*/ 0 w 10000"/>
              <a:gd name="connsiteY6" fmla="*/ 731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0" y="0"/>
                </a:moveTo>
                <a:lnTo>
                  <a:pt x="10000" y="0"/>
                </a:lnTo>
                <a:lnTo>
                  <a:pt x="10000" y="4514"/>
                </a:lnTo>
                <a:cubicBezTo>
                  <a:pt x="9760" y="6899"/>
                  <a:pt x="9341" y="7238"/>
                  <a:pt x="9014" y="7280"/>
                </a:cubicBezTo>
                <a:lnTo>
                  <a:pt x="1770" y="7280"/>
                </a:lnTo>
                <a:cubicBezTo>
                  <a:pt x="1331" y="7393"/>
                  <a:pt x="1047" y="8439"/>
                  <a:pt x="901" y="10000"/>
                </a:cubicBezTo>
                <a:cubicBezTo>
                  <a:pt x="675" y="7631"/>
                  <a:pt x="214" y="7314"/>
                  <a:pt x="0" y="7314"/>
                </a:cubicBezTo>
              </a:path>
            </a:pathLst>
          </a:custGeom>
          <a:solidFill>
            <a:schemeClr val="bg1"/>
          </a:solidFill>
          <a:ln w="0">
            <a:noFill/>
            <a:prstDash val="solid"/>
            <a:round/>
            <a:headEnd/>
            <a:tailEnd/>
          </a:ln>
          <a:effectLst/>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endParaRPr>
          </a:p>
        </p:txBody>
      </p:sp>
      <p:graphicFrame>
        <p:nvGraphicFramePr>
          <p:cNvPr id="5" name="Object 4" hidden="1"/>
          <p:cNvGraphicFramePr>
            <a:graphicFrameLocks noChangeAspect="1"/>
          </p:cNvGraphicFramePr>
          <p:nvPr>
            <p:custDataLst>
              <p:tags r:id="rId2"/>
            </p:custDataLst>
          </p:nvPr>
        </p:nvGraphicFramePr>
        <p:xfrm>
          <a:off x="1" y="3"/>
          <a:ext cx="195333" cy="158751"/>
        </p:xfrm>
        <a:graphic>
          <a:graphicData uri="http://schemas.openxmlformats.org/presentationml/2006/ole">
            <mc:AlternateContent xmlns:mc="http://schemas.openxmlformats.org/markup-compatibility/2006">
              <mc:Choice xmlns:v="urn:schemas-microsoft-com:vml" Requires="v">
                <p:oleObj spid="_x0000_s47335"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3"/>
                        <a:ext cx="195333"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820737" y="3091617"/>
            <a:ext cx="6414949" cy="1214954"/>
          </a:xfrm>
          <a:effectLst/>
        </p:spPr>
        <p:txBody>
          <a:bodyPr vert="horz" lIns="0" tIns="36576" rIns="36576" bIns="36576" rtlCol="0" anchor="b" anchorCtr="0">
            <a:noAutofit/>
          </a:bodyPr>
          <a:lstStyle>
            <a:lvl1pPr algn="l" defTabSz="914068" rtl="0" eaLnBrk="1" latinLnBrk="0" hangingPunct="1">
              <a:lnSpc>
                <a:spcPct val="100000"/>
              </a:lnSpc>
              <a:spcBef>
                <a:spcPct val="0"/>
              </a:spcBef>
              <a:buNone/>
              <a:defRPr lang="en-US" sz="3199"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820737" y="4395331"/>
            <a:ext cx="6414949" cy="447893"/>
          </a:xfrm>
          <a:effectLst/>
        </p:spPr>
        <p:txBody>
          <a:bodyPr vert="horz" lIns="0" tIns="36576" rIns="36576" bIns="36576" rtlCol="0" anchor="ctr">
            <a:noAutofit/>
          </a:bodyPr>
          <a:lstStyle>
            <a:lvl1pPr marL="0" indent="0" algn="l" defTabSz="778968" rtl="0" eaLnBrk="1" latinLnBrk="0" hangingPunct="1">
              <a:lnSpc>
                <a:spcPct val="100000"/>
              </a:lnSpc>
              <a:spcBef>
                <a:spcPts val="0"/>
              </a:spcBef>
              <a:spcAft>
                <a:spcPts val="511"/>
              </a:spcAft>
              <a:buClr>
                <a:schemeClr val="accent3"/>
              </a:buClr>
              <a:buFont typeface="Wingdings" pitchFamily="2" charset="2"/>
              <a:buNone/>
              <a:defRPr lang="fr-FR" sz="2199" b="0" kern="1200" dirty="0" smtClean="0">
                <a:solidFill>
                  <a:schemeClr val="bg1"/>
                </a:solidFill>
                <a:effectLst/>
                <a:latin typeface="+mn-lt"/>
                <a:ea typeface="+mn-ea"/>
                <a:cs typeface="+mn-cs"/>
              </a:defRPr>
            </a:lvl1pPr>
            <a:lvl2pPr marL="519221" indent="0" algn="ctr">
              <a:buNone/>
              <a:defRPr>
                <a:solidFill>
                  <a:schemeClr val="tx1">
                    <a:tint val="75000"/>
                  </a:schemeClr>
                </a:solidFill>
              </a:defRPr>
            </a:lvl2pPr>
            <a:lvl3pPr marL="1038442" indent="0" algn="ctr">
              <a:buNone/>
              <a:defRPr>
                <a:solidFill>
                  <a:schemeClr val="tx1">
                    <a:tint val="75000"/>
                  </a:schemeClr>
                </a:solidFill>
              </a:defRPr>
            </a:lvl3pPr>
            <a:lvl4pPr marL="1557664" indent="0" algn="ctr">
              <a:buNone/>
              <a:defRPr>
                <a:solidFill>
                  <a:schemeClr val="tx1">
                    <a:tint val="75000"/>
                  </a:schemeClr>
                </a:solidFill>
              </a:defRPr>
            </a:lvl4pPr>
            <a:lvl5pPr marL="2076887" indent="0" algn="ctr">
              <a:buNone/>
              <a:defRPr>
                <a:solidFill>
                  <a:schemeClr val="tx1">
                    <a:tint val="75000"/>
                  </a:schemeClr>
                </a:solidFill>
              </a:defRPr>
            </a:lvl5pPr>
            <a:lvl6pPr marL="2596108" indent="0" algn="ctr">
              <a:buNone/>
              <a:defRPr>
                <a:solidFill>
                  <a:schemeClr val="tx1">
                    <a:tint val="75000"/>
                  </a:schemeClr>
                </a:solidFill>
              </a:defRPr>
            </a:lvl6pPr>
            <a:lvl7pPr marL="3115329" indent="0" algn="ctr">
              <a:buNone/>
              <a:defRPr>
                <a:solidFill>
                  <a:schemeClr val="tx1">
                    <a:tint val="75000"/>
                  </a:schemeClr>
                </a:solidFill>
              </a:defRPr>
            </a:lvl7pPr>
            <a:lvl8pPr marL="3634551" indent="0" algn="ctr">
              <a:buNone/>
              <a:defRPr>
                <a:solidFill>
                  <a:schemeClr val="tx1">
                    <a:tint val="75000"/>
                  </a:schemeClr>
                </a:solidFill>
              </a:defRPr>
            </a:lvl8pPr>
            <a:lvl9pPr marL="4153772"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5" name="Picture 103" descr="C:\Users\UserSim\Desktop\Capgemini\Capgemini_logo_cmyk.png"/>
          <p:cNvPicPr>
            <a:picLocks noChangeAspect="1" noChangeArrowheads="1"/>
          </p:cNvPicPr>
          <p:nvPr userDrawn="1">
            <p:custDataLst>
              <p:tags r:id="rId5"/>
            </p:custDataLst>
          </p:nvPr>
        </p:nvPicPr>
        <p:blipFill>
          <a:blip r:embed="rId10" cstate="email"/>
          <a:srcRect/>
          <a:stretch>
            <a:fillRect/>
          </a:stretch>
        </p:blipFill>
        <p:spPr bwMode="auto">
          <a:xfrm>
            <a:off x="809263" y="623984"/>
            <a:ext cx="2925318" cy="688491"/>
          </a:xfrm>
          <a:prstGeom prst="rect">
            <a:avLst/>
          </a:prstGeom>
          <a:noFill/>
        </p:spPr>
      </p:pic>
      <p:pic>
        <p:nvPicPr>
          <p:cNvPr id="13" name="Picture 7" descr="D:\My Work\Template\Logos\Capgemini\Slogan_PMRC_cmyk_Capgemini.png"/>
          <p:cNvPicPr>
            <a:picLocks noChangeAspect="1" noChangeArrowheads="1"/>
          </p:cNvPicPr>
          <p:nvPr userDrawn="1"/>
        </p:nvPicPr>
        <p:blipFill>
          <a:blip r:embed="rId11"/>
          <a:stretch>
            <a:fillRect/>
          </a:stretch>
        </p:blipFill>
        <p:spPr bwMode="auto">
          <a:xfrm>
            <a:off x="8438833" y="814170"/>
            <a:ext cx="2926080" cy="239823"/>
          </a:xfrm>
          <a:prstGeom prst="rect">
            <a:avLst/>
          </a:prstGeom>
          <a:noFill/>
          <a:ln>
            <a:noFill/>
          </a:ln>
        </p:spPr>
      </p:pic>
      <p:grpSp>
        <p:nvGrpSpPr>
          <p:cNvPr id="20" name="Group 19"/>
          <p:cNvGrpSpPr/>
          <p:nvPr userDrawn="1"/>
        </p:nvGrpSpPr>
        <p:grpSpPr>
          <a:xfrm>
            <a:off x="470219" y="5529263"/>
            <a:ext cx="3839611" cy="1073514"/>
            <a:chOff x="1943100" y="4152900"/>
            <a:chExt cx="5257800" cy="1470025"/>
          </a:xfrm>
        </p:grpSpPr>
        <p:sp>
          <p:nvSpPr>
            <p:cNvPr id="21" name="Freeform 67"/>
            <p:cNvSpPr>
              <a:spLocks/>
            </p:cNvSpPr>
            <p:nvPr/>
          </p:nvSpPr>
          <p:spPr bwMode="auto">
            <a:xfrm>
              <a:off x="3368675" y="5254625"/>
              <a:ext cx="307975" cy="304800"/>
            </a:xfrm>
            <a:custGeom>
              <a:avLst/>
              <a:gdLst>
                <a:gd name="T0" fmla="*/ 180 w 194"/>
                <a:gd name="T1" fmla="*/ 0 h 192"/>
                <a:gd name="T2" fmla="*/ 178 w 194"/>
                <a:gd name="T3" fmla="*/ 4 h 192"/>
                <a:gd name="T4" fmla="*/ 178 w 194"/>
                <a:gd name="T5" fmla="*/ 4 h 192"/>
                <a:gd name="T6" fmla="*/ 162 w 194"/>
                <a:gd name="T7" fmla="*/ 30 h 192"/>
                <a:gd name="T8" fmla="*/ 142 w 194"/>
                <a:gd name="T9" fmla="*/ 54 h 192"/>
                <a:gd name="T10" fmla="*/ 124 w 194"/>
                <a:gd name="T11" fmla="*/ 78 h 192"/>
                <a:gd name="T12" fmla="*/ 102 w 194"/>
                <a:gd name="T13" fmla="*/ 100 h 192"/>
                <a:gd name="T14" fmla="*/ 80 w 194"/>
                <a:gd name="T15" fmla="*/ 122 h 192"/>
                <a:gd name="T16" fmla="*/ 56 w 194"/>
                <a:gd name="T17" fmla="*/ 142 h 192"/>
                <a:gd name="T18" fmla="*/ 30 w 194"/>
                <a:gd name="T19" fmla="*/ 160 h 192"/>
                <a:gd name="T20" fmla="*/ 4 w 194"/>
                <a:gd name="T21" fmla="*/ 178 h 192"/>
                <a:gd name="T22" fmla="*/ 4 w 194"/>
                <a:gd name="T23" fmla="*/ 178 h 192"/>
                <a:gd name="T24" fmla="*/ 2 w 194"/>
                <a:gd name="T25" fmla="*/ 180 h 192"/>
                <a:gd name="T26" fmla="*/ 0 w 194"/>
                <a:gd name="T27" fmla="*/ 182 h 192"/>
                <a:gd name="T28" fmla="*/ 0 w 194"/>
                <a:gd name="T29" fmla="*/ 186 h 192"/>
                <a:gd name="T30" fmla="*/ 2 w 194"/>
                <a:gd name="T31" fmla="*/ 188 h 192"/>
                <a:gd name="T32" fmla="*/ 2 w 194"/>
                <a:gd name="T33" fmla="*/ 188 h 192"/>
                <a:gd name="T34" fmla="*/ 4 w 194"/>
                <a:gd name="T35" fmla="*/ 192 h 192"/>
                <a:gd name="T36" fmla="*/ 8 w 194"/>
                <a:gd name="T37" fmla="*/ 192 h 192"/>
                <a:gd name="T38" fmla="*/ 8 w 194"/>
                <a:gd name="T39" fmla="*/ 192 h 192"/>
                <a:gd name="T40" fmla="*/ 12 w 194"/>
                <a:gd name="T41" fmla="*/ 192 h 192"/>
                <a:gd name="T42" fmla="*/ 12 w 194"/>
                <a:gd name="T43" fmla="*/ 192 h 192"/>
                <a:gd name="T44" fmla="*/ 40 w 194"/>
                <a:gd name="T45" fmla="*/ 174 h 192"/>
                <a:gd name="T46" fmla="*/ 66 w 194"/>
                <a:gd name="T47" fmla="*/ 154 h 192"/>
                <a:gd name="T48" fmla="*/ 90 w 194"/>
                <a:gd name="T49" fmla="*/ 132 h 192"/>
                <a:gd name="T50" fmla="*/ 114 w 194"/>
                <a:gd name="T51" fmla="*/ 110 h 192"/>
                <a:gd name="T52" fmla="*/ 136 w 194"/>
                <a:gd name="T53" fmla="*/ 86 h 192"/>
                <a:gd name="T54" fmla="*/ 156 w 194"/>
                <a:gd name="T55" fmla="*/ 62 h 192"/>
                <a:gd name="T56" fmla="*/ 176 w 194"/>
                <a:gd name="T57" fmla="*/ 36 h 192"/>
                <a:gd name="T58" fmla="*/ 192 w 194"/>
                <a:gd name="T59" fmla="*/ 8 h 192"/>
                <a:gd name="T60" fmla="*/ 194 w 194"/>
                <a:gd name="T61" fmla="*/ 4 h 192"/>
                <a:gd name="T62" fmla="*/ 180 w 194"/>
                <a:gd name="T6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4" h="192">
                  <a:moveTo>
                    <a:pt x="180" y="0"/>
                  </a:moveTo>
                  <a:lnTo>
                    <a:pt x="178" y="4"/>
                  </a:lnTo>
                  <a:lnTo>
                    <a:pt x="178" y="4"/>
                  </a:lnTo>
                  <a:lnTo>
                    <a:pt x="162" y="30"/>
                  </a:lnTo>
                  <a:lnTo>
                    <a:pt x="142" y="54"/>
                  </a:lnTo>
                  <a:lnTo>
                    <a:pt x="124" y="78"/>
                  </a:lnTo>
                  <a:lnTo>
                    <a:pt x="102" y="100"/>
                  </a:lnTo>
                  <a:lnTo>
                    <a:pt x="80" y="122"/>
                  </a:lnTo>
                  <a:lnTo>
                    <a:pt x="56" y="142"/>
                  </a:lnTo>
                  <a:lnTo>
                    <a:pt x="30" y="160"/>
                  </a:lnTo>
                  <a:lnTo>
                    <a:pt x="4" y="178"/>
                  </a:lnTo>
                  <a:lnTo>
                    <a:pt x="4" y="178"/>
                  </a:lnTo>
                  <a:lnTo>
                    <a:pt x="2" y="180"/>
                  </a:lnTo>
                  <a:lnTo>
                    <a:pt x="0" y="182"/>
                  </a:lnTo>
                  <a:lnTo>
                    <a:pt x="0" y="186"/>
                  </a:lnTo>
                  <a:lnTo>
                    <a:pt x="2" y="188"/>
                  </a:lnTo>
                  <a:lnTo>
                    <a:pt x="2" y="188"/>
                  </a:lnTo>
                  <a:lnTo>
                    <a:pt x="4" y="192"/>
                  </a:lnTo>
                  <a:lnTo>
                    <a:pt x="8" y="192"/>
                  </a:lnTo>
                  <a:lnTo>
                    <a:pt x="8" y="192"/>
                  </a:lnTo>
                  <a:lnTo>
                    <a:pt x="12" y="192"/>
                  </a:lnTo>
                  <a:lnTo>
                    <a:pt x="12" y="192"/>
                  </a:lnTo>
                  <a:lnTo>
                    <a:pt x="40" y="174"/>
                  </a:lnTo>
                  <a:lnTo>
                    <a:pt x="66" y="154"/>
                  </a:lnTo>
                  <a:lnTo>
                    <a:pt x="90" y="132"/>
                  </a:lnTo>
                  <a:lnTo>
                    <a:pt x="114" y="110"/>
                  </a:lnTo>
                  <a:lnTo>
                    <a:pt x="136" y="86"/>
                  </a:lnTo>
                  <a:lnTo>
                    <a:pt x="156" y="62"/>
                  </a:lnTo>
                  <a:lnTo>
                    <a:pt x="176" y="36"/>
                  </a:lnTo>
                  <a:lnTo>
                    <a:pt x="192" y="8"/>
                  </a:lnTo>
                  <a:lnTo>
                    <a:pt x="194" y="4"/>
                  </a:lnTo>
                  <a:lnTo>
                    <a:pt x="180" y="0"/>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grpSp>
          <p:nvGrpSpPr>
            <p:cNvPr id="22" name="Group 285"/>
            <p:cNvGrpSpPr/>
            <p:nvPr/>
          </p:nvGrpSpPr>
          <p:grpSpPr>
            <a:xfrm>
              <a:off x="2433022" y="4608807"/>
              <a:ext cx="1000741" cy="1010645"/>
              <a:chOff x="2433022" y="1691777"/>
              <a:chExt cx="1000741" cy="1010645"/>
            </a:xfrm>
          </p:grpSpPr>
          <p:pic>
            <p:nvPicPr>
              <p:cNvPr id="55" name="Picture 5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001763" y="2270422"/>
                <a:ext cx="432000" cy="432000"/>
              </a:xfrm>
              <a:prstGeom prst="rect">
                <a:avLst/>
              </a:prstGeom>
            </p:spPr>
          </p:pic>
          <p:pic>
            <p:nvPicPr>
              <p:cNvPr id="56" name="Picture 5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001763" y="1691777"/>
                <a:ext cx="432000" cy="432000"/>
              </a:xfrm>
              <a:prstGeom prst="rect">
                <a:avLst/>
              </a:prstGeom>
            </p:spPr>
          </p:pic>
          <p:pic>
            <p:nvPicPr>
              <p:cNvPr id="57" name="Picture 5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433022" y="2270422"/>
                <a:ext cx="432000" cy="432000"/>
              </a:xfrm>
              <a:prstGeom prst="rect">
                <a:avLst/>
              </a:prstGeom>
            </p:spPr>
          </p:pic>
          <p:pic>
            <p:nvPicPr>
              <p:cNvPr id="58" name="Picture 5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433022" y="1691777"/>
                <a:ext cx="432000" cy="432000"/>
              </a:xfrm>
              <a:prstGeom prst="rect">
                <a:avLst/>
              </a:prstGeom>
            </p:spPr>
          </p:pic>
          <p:grpSp>
            <p:nvGrpSpPr>
              <p:cNvPr id="59" name="Group 290"/>
              <p:cNvGrpSpPr/>
              <p:nvPr/>
            </p:nvGrpSpPr>
            <p:grpSpPr>
              <a:xfrm>
                <a:off x="2478087" y="2327275"/>
                <a:ext cx="333375" cy="327025"/>
                <a:chOff x="2478087" y="2327275"/>
                <a:chExt cx="333375" cy="327025"/>
              </a:xfrm>
            </p:grpSpPr>
            <p:sp>
              <p:nvSpPr>
                <p:cNvPr id="83" name="Freeform 15"/>
                <p:cNvSpPr>
                  <a:spLocks/>
                </p:cNvSpPr>
                <p:nvPr/>
              </p:nvSpPr>
              <p:spPr bwMode="auto">
                <a:xfrm>
                  <a:off x="2605087" y="2362200"/>
                  <a:ext cx="98425" cy="161925"/>
                </a:xfrm>
                <a:custGeom>
                  <a:avLst/>
                  <a:gdLst>
                    <a:gd name="T0" fmla="*/ 24 w 62"/>
                    <a:gd name="T1" fmla="*/ 90 h 102"/>
                    <a:gd name="T2" fmla="*/ 12 w 62"/>
                    <a:gd name="T3" fmla="*/ 88 h 102"/>
                    <a:gd name="T4" fmla="*/ 0 w 62"/>
                    <a:gd name="T5" fmla="*/ 84 h 102"/>
                    <a:gd name="T6" fmla="*/ 8 w 62"/>
                    <a:gd name="T7" fmla="*/ 72 h 102"/>
                    <a:gd name="T8" fmla="*/ 18 w 62"/>
                    <a:gd name="T9" fmla="*/ 76 h 102"/>
                    <a:gd name="T10" fmla="*/ 28 w 62"/>
                    <a:gd name="T11" fmla="*/ 76 h 102"/>
                    <a:gd name="T12" fmla="*/ 40 w 62"/>
                    <a:gd name="T13" fmla="*/ 74 h 102"/>
                    <a:gd name="T14" fmla="*/ 44 w 62"/>
                    <a:gd name="T15" fmla="*/ 68 h 102"/>
                    <a:gd name="T16" fmla="*/ 42 w 62"/>
                    <a:gd name="T17" fmla="*/ 66 h 102"/>
                    <a:gd name="T18" fmla="*/ 36 w 62"/>
                    <a:gd name="T19" fmla="*/ 60 h 102"/>
                    <a:gd name="T20" fmla="*/ 28 w 62"/>
                    <a:gd name="T21" fmla="*/ 56 h 102"/>
                    <a:gd name="T22" fmla="*/ 10 w 62"/>
                    <a:gd name="T23" fmla="*/ 48 h 102"/>
                    <a:gd name="T24" fmla="*/ 2 w 62"/>
                    <a:gd name="T25" fmla="*/ 38 h 102"/>
                    <a:gd name="T26" fmla="*/ 2 w 62"/>
                    <a:gd name="T27" fmla="*/ 34 h 102"/>
                    <a:gd name="T28" fmla="*/ 8 w 62"/>
                    <a:gd name="T29" fmla="*/ 20 h 102"/>
                    <a:gd name="T30" fmla="*/ 24 w 62"/>
                    <a:gd name="T31" fmla="*/ 12 h 102"/>
                    <a:gd name="T32" fmla="*/ 38 w 62"/>
                    <a:gd name="T33" fmla="*/ 0 h 102"/>
                    <a:gd name="T34" fmla="*/ 38 w 62"/>
                    <a:gd name="T35" fmla="*/ 12 h 102"/>
                    <a:gd name="T36" fmla="*/ 56 w 62"/>
                    <a:gd name="T37" fmla="*/ 16 h 102"/>
                    <a:gd name="T38" fmla="*/ 54 w 62"/>
                    <a:gd name="T39" fmla="*/ 30 h 102"/>
                    <a:gd name="T40" fmla="*/ 50 w 62"/>
                    <a:gd name="T41" fmla="*/ 28 h 102"/>
                    <a:gd name="T42" fmla="*/ 34 w 62"/>
                    <a:gd name="T43" fmla="*/ 26 h 102"/>
                    <a:gd name="T44" fmla="*/ 28 w 62"/>
                    <a:gd name="T45" fmla="*/ 26 h 102"/>
                    <a:gd name="T46" fmla="*/ 20 w 62"/>
                    <a:gd name="T47" fmla="*/ 30 h 102"/>
                    <a:gd name="T48" fmla="*/ 20 w 62"/>
                    <a:gd name="T49" fmla="*/ 32 h 102"/>
                    <a:gd name="T50" fmla="*/ 24 w 62"/>
                    <a:gd name="T51" fmla="*/ 38 h 102"/>
                    <a:gd name="T52" fmla="*/ 36 w 62"/>
                    <a:gd name="T53" fmla="*/ 44 h 102"/>
                    <a:gd name="T54" fmla="*/ 54 w 62"/>
                    <a:gd name="T55" fmla="*/ 52 h 102"/>
                    <a:gd name="T56" fmla="*/ 60 w 62"/>
                    <a:gd name="T57" fmla="*/ 62 h 102"/>
                    <a:gd name="T58" fmla="*/ 62 w 62"/>
                    <a:gd name="T59" fmla="*/ 66 h 102"/>
                    <a:gd name="T60" fmla="*/ 56 w 62"/>
                    <a:gd name="T61" fmla="*/ 80 h 102"/>
                    <a:gd name="T62" fmla="*/ 38 w 62"/>
                    <a:gd name="T63" fmla="*/ 90 h 102"/>
                    <a:gd name="T64" fmla="*/ 24 w 62"/>
                    <a:gd name="T6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 h="102">
                      <a:moveTo>
                        <a:pt x="24" y="102"/>
                      </a:moveTo>
                      <a:lnTo>
                        <a:pt x="24" y="90"/>
                      </a:lnTo>
                      <a:lnTo>
                        <a:pt x="24" y="90"/>
                      </a:lnTo>
                      <a:lnTo>
                        <a:pt x="12" y="88"/>
                      </a:lnTo>
                      <a:lnTo>
                        <a:pt x="2" y="84"/>
                      </a:lnTo>
                      <a:lnTo>
                        <a:pt x="0" y="84"/>
                      </a:lnTo>
                      <a:lnTo>
                        <a:pt x="6" y="70"/>
                      </a:lnTo>
                      <a:lnTo>
                        <a:pt x="8" y="72"/>
                      </a:lnTo>
                      <a:lnTo>
                        <a:pt x="8" y="72"/>
                      </a:lnTo>
                      <a:lnTo>
                        <a:pt x="18" y="76"/>
                      </a:lnTo>
                      <a:lnTo>
                        <a:pt x="28" y="76"/>
                      </a:lnTo>
                      <a:lnTo>
                        <a:pt x="28" y="76"/>
                      </a:lnTo>
                      <a:lnTo>
                        <a:pt x="34" y="76"/>
                      </a:lnTo>
                      <a:lnTo>
                        <a:pt x="40" y="74"/>
                      </a:lnTo>
                      <a:lnTo>
                        <a:pt x="42" y="72"/>
                      </a:lnTo>
                      <a:lnTo>
                        <a:pt x="44" y="68"/>
                      </a:lnTo>
                      <a:lnTo>
                        <a:pt x="44" y="68"/>
                      </a:lnTo>
                      <a:lnTo>
                        <a:pt x="42" y="66"/>
                      </a:lnTo>
                      <a:lnTo>
                        <a:pt x="40" y="62"/>
                      </a:lnTo>
                      <a:lnTo>
                        <a:pt x="36" y="60"/>
                      </a:lnTo>
                      <a:lnTo>
                        <a:pt x="28" y="56"/>
                      </a:lnTo>
                      <a:lnTo>
                        <a:pt x="28" y="56"/>
                      </a:lnTo>
                      <a:lnTo>
                        <a:pt x="18" y="54"/>
                      </a:lnTo>
                      <a:lnTo>
                        <a:pt x="10" y="48"/>
                      </a:lnTo>
                      <a:lnTo>
                        <a:pt x="4" y="42"/>
                      </a:lnTo>
                      <a:lnTo>
                        <a:pt x="2" y="38"/>
                      </a:lnTo>
                      <a:lnTo>
                        <a:pt x="2" y="34"/>
                      </a:lnTo>
                      <a:lnTo>
                        <a:pt x="2" y="34"/>
                      </a:lnTo>
                      <a:lnTo>
                        <a:pt x="4" y="26"/>
                      </a:lnTo>
                      <a:lnTo>
                        <a:pt x="8" y="20"/>
                      </a:lnTo>
                      <a:lnTo>
                        <a:pt x="16" y="16"/>
                      </a:lnTo>
                      <a:lnTo>
                        <a:pt x="24" y="12"/>
                      </a:lnTo>
                      <a:lnTo>
                        <a:pt x="24" y="0"/>
                      </a:lnTo>
                      <a:lnTo>
                        <a:pt x="38" y="0"/>
                      </a:lnTo>
                      <a:lnTo>
                        <a:pt x="38" y="12"/>
                      </a:lnTo>
                      <a:lnTo>
                        <a:pt x="38" y="12"/>
                      </a:lnTo>
                      <a:lnTo>
                        <a:pt x="48" y="14"/>
                      </a:lnTo>
                      <a:lnTo>
                        <a:pt x="56" y="16"/>
                      </a:lnTo>
                      <a:lnTo>
                        <a:pt x="60" y="18"/>
                      </a:lnTo>
                      <a:lnTo>
                        <a:pt x="54" y="30"/>
                      </a:lnTo>
                      <a:lnTo>
                        <a:pt x="50" y="28"/>
                      </a:lnTo>
                      <a:lnTo>
                        <a:pt x="50" y="28"/>
                      </a:lnTo>
                      <a:lnTo>
                        <a:pt x="44" y="26"/>
                      </a:lnTo>
                      <a:lnTo>
                        <a:pt x="34" y="26"/>
                      </a:lnTo>
                      <a:lnTo>
                        <a:pt x="34" y="26"/>
                      </a:lnTo>
                      <a:lnTo>
                        <a:pt x="28" y="26"/>
                      </a:lnTo>
                      <a:lnTo>
                        <a:pt x="22" y="28"/>
                      </a:lnTo>
                      <a:lnTo>
                        <a:pt x="20" y="30"/>
                      </a:lnTo>
                      <a:lnTo>
                        <a:pt x="20" y="32"/>
                      </a:lnTo>
                      <a:lnTo>
                        <a:pt x="20" y="32"/>
                      </a:lnTo>
                      <a:lnTo>
                        <a:pt x="20" y="36"/>
                      </a:lnTo>
                      <a:lnTo>
                        <a:pt x="24" y="38"/>
                      </a:lnTo>
                      <a:lnTo>
                        <a:pt x="36" y="44"/>
                      </a:lnTo>
                      <a:lnTo>
                        <a:pt x="36" y="44"/>
                      </a:lnTo>
                      <a:lnTo>
                        <a:pt x="46" y="46"/>
                      </a:lnTo>
                      <a:lnTo>
                        <a:pt x="54" y="52"/>
                      </a:lnTo>
                      <a:lnTo>
                        <a:pt x="60" y="58"/>
                      </a:lnTo>
                      <a:lnTo>
                        <a:pt x="60" y="62"/>
                      </a:lnTo>
                      <a:lnTo>
                        <a:pt x="62" y="66"/>
                      </a:lnTo>
                      <a:lnTo>
                        <a:pt x="62" y="66"/>
                      </a:lnTo>
                      <a:lnTo>
                        <a:pt x="60" y="74"/>
                      </a:lnTo>
                      <a:lnTo>
                        <a:pt x="56" y="80"/>
                      </a:lnTo>
                      <a:lnTo>
                        <a:pt x="48" y="86"/>
                      </a:lnTo>
                      <a:lnTo>
                        <a:pt x="38" y="90"/>
                      </a:lnTo>
                      <a:lnTo>
                        <a:pt x="38" y="102"/>
                      </a:lnTo>
                      <a:lnTo>
                        <a:pt x="24"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84" name="Freeform 16"/>
                <p:cNvSpPr>
                  <a:spLocks/>
                </p:cNvSpPr>
                <p:nvPr/>
              </p:nvSpPr>
              <p:spPr bwMode="auto">
                <a:xfrm>
                  <a:off x="2478087" y="2524125"/>
                  <a:ext cx="333375" cy="130175"/>
                </a:xfrm>
                <a:custGeom>
                  <a:avLst/>
                  <a:gdLst>
                    <a:gd name="T0" fmla="*/ 112 w 210"/>
                    <a:gd name="T1" fmla="*/ 82 h 82"/>
                    <a:gd name="T2" fmla="*/ 72 w 210"/>
                    <a:gd name="T3" fmla="*/ 74 h 82"/>
                    <a:gd name="T4" fmla="*/ 38 w 210"/>
                    <a:gd name="T5" fmla="*/ 50 h 82"/>
                    <a:gd name="T6" fmla="*/ 8 w 210"/>
                    <a:gd name="T7" fmla="*/ 50 h 82"/>
                    <a:gd name="T8" fmla="*/ 0 w 210"/>
                    <a:gd name="T9" fmla="*/ 44 h 82"/>
                    <a:gd name="T10" fmla="*/ 2 w 210"/>
                    <a:gd name="T11" fmla="*/ 38 h 82"/>
                    <a:gd name="T12" fmla="*/ 8 w 210"/>
                    <a:gd name="T13" fmla="*/ 36 h 82"/>
                    <a:gd name="T14" fmla="*/ 46 w 210"/>
                    <a:gd name="T15" fmla="*/ 38 h 82"/>
                    <a:gd name="T16" fmla="*/ 56 w 210"/>
                    <a:gd name="T17" fmla="*/ 48 h 82"/>
                    <a:gd name="T18" fmla="*/ 78 w 210"/>
                    <a:gd name="T19" fmla="*/ 62 h 82"/>
                    <a:gd name="T20" fmla="*/ 104 w 210"/>
                    <a:gd name="T21" fmla="*/ 68 h 82"/>
                    <a:gd name="T22" fmla="*/ 132 w 210"/>
                    <a:gd name="T23" fmla="*/ 66 h 82"/>
                    <a:gd name="T24" fmla="*/ 144 w 210"/>
                    <a:gd name="T25" fmla="*/ 62 h 82"/>
                    <a:gd name="T26" fmla="*/ 174 w 210"/>
                    <a:gd name="T27" fmla="*/ 42 h 82"/>
                    <a:gd name="T28" fmla="*/ 194 w 210"/>
                    <a:gd name="T29" fmla="*/ 14 h 82"/>
                    <a:gd name="T30" fmla="*/ 190 w 210"/>
                    <a:gd name="T31" fmla="*/ 12 h 82"/>
                    <a:gd name="T32" fmla="*/ 186 w 210"/>
                    <a:gd name="T33" fmla="*/ 12 h 82"/>
                    <a:gd name="T34" fmla="*/ 182 w 210"/>
                    <a:gd name="T35" fmla="*/ 18 h 82"/>
                    <a:gd name="T36" fmla="*/ 182 w 210"/>
                    <a:gd name="T37" fmla="*/ 18 h 82"/>
                    <a:gd name="T38" fmla="*/ 164 w 210"/>
                    <a:gd name="T39" fmla="*/ 36 h 82"/>
                    <a:gd name="T40" fmla="*/ 142 w 210"/>
                    <a:gd name="T41" fmla="*/ 50 h 82"/>
                    <a:gd name="T42" fmla="*/ 132 w 210"/>
                    <a:gd name="T43" fmla="*/ 52 h 82"/>
                    <a:gd name="T44" fmla="*/ 110 w 210"/>
                    <a:gd name="T45" fmla="*/ 56 h 82"/>
                    <a:gd name="T46" fmla="*/ 98 w 210"/>
                    <a:gd name="T47" fmla="*/ 54 h 82"/>
                    <a:gd name="T48" fmla="*/ 92 w 210"/>
                    <a:gd name="T49" fmla="*/ 46 h 82"/>
                    <a:gd name="T50" fmla="*/ 96 w 210"/>
                    <a:gd name="T51" fmla="*/ 42 h 82"/>
                    <a:gd name="T52" fmla="*/ 100 w 210"/>
                    <a:gd name="T53" fmla="*/ 42 h 82"/>
                    <a:gd name="T54" fmla="*/ 120 w 210"/>
                    <a:gd name="T55" fmla="*/ 42 h 82"/>
                    <a:gd name="T56" fmla="*/ 138 w 210"/>
                    <a:gd name="T57" fmla="*/ 38 h 82"/>
                    <a:gd name="T58" fmla="*/ 148 w 210"/>
                    <a:gd name="T59" fmla="*/ 32 h 82"/>
                    <a:gd name="T60" fmla="*/ 164 w 210"/>
                    <a:gd name="T61" fmla="*/ 20 h 82"/>
                    <a:gd name="T62" fmla="*/ 170 w 210"/>
                    <a:gd name="T63" fmla="*/ 12 h 82"/>
                    <a:gd name="T64" fmla="*/ 178 w 210"/>
                    <a:gd name="T65" fmla="*/ 2 h 82"/>
                    <a:gd name="T66" fmla="*/ 184 w 210"/>
                    <a:gd name="T67" fmla="*/ 0 h 82"/>
                    <a:gd name="T68" fmla="*/ 200 w 210"/>
                    <a:gd name="T69" fmla="*/ 2 h 82"/>
                    <a:gd name="T70" fmla="*/ 210 w 210"/>
                    <a:gd name="T71" fmla="*/ 10 h 82"/>
                    <a:gd name="T72" fmla="*/ 208 w 210"/>
                    <a:gd name="T73" fmla="*/ 14 h 82"/>
                    <a:gd name="T74" fmla="*/ 186 w 210"/>
                    <a:gd name="T75" fmla="*/ 50 h 82"/>
                    <a:gd name="T76" fmla="*/ 150 w 210"/>
                    <a:gd name="T77" fmla="*/ 74 h 82"/>
                    <a:gd name="T78" fmla="*/ 132 w 210"/>
                    <a:gd name="T79" fmla="*/ 80 h 82"/>
                    <a:gd name="T80" fmla="*/ 112 w 210"/>
                    <a:gd name="T81"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0" h="82">
                      <a:moveTo>
                        <a:pt x="112" y="82"/>
                      </a:moveTo>
                      <a:lnTo>
                        <a:pt x="112" y="82"/>
                      </a:lnTo>
                      <a:lnTo>
                        <a:pt x="92" y="80"/>
                      </a:lnTo>
                      <a:lnTo>
                        <a:pt x="72" y="74"/>
                      </a:lnTo>
                      <a:lnTo>
                        <a:pt x="54" y="64"/>
                      </a:lnTo>
                      <a:lnTo>
                        <a:pt x="38" y="50"/>
                      </a:lnTo>
                      <a:lnTo>
                        <a:pt x="8" y="50"/>
                      </a:lnTo>
                      <a:lnTo>
                        <a:pt x="8" y="50"/>
                      </a:lnTo>
                      <a:lnTo>
                        <a:pt x="2" y="48"/>
                      </a:lnTo>
                      <a:lnTo>
                        <a:pt x="0" y="44"/>
                      </a:lnTo>
                      <a:lnTo>
                        <a:pt x="0" y="44"/>
                      </a:lnTo>
                      <a:lnTo>
                        <a:pt x="2" y="38"/>
                      </a:lnTo>
                      <a:lnTo>
                        <a:pt x="8" y="36"/>
                      </a:lnTo>
                      <a:lnTo>
                        <a:pt x="8" y="36"/>
                      </a:lnTo>
                      <a:lnTo>
                        <a:pt x="44" y="36"/>
                      </a:lnTo>
                      <a:lnTo>
                        <a:pt x="46" y="38"/>
                      </a:lnTo>
                      <a:lnTo>
                        <a:pt x="46" y="38"/>
                      </a:lnTo>
                      <a:lnTo>
                        <a:pt x="56" y="48"/>
                      </a:lnTo>
                      <a:lnTo>
                        <a:pt x="66" y="56"/>
                      </a:lnTo>
                      <a:lnTo>
                        <a:pt x="78" y="62"/>
                      </a:lnTo>
                      <a:lnTo>
                        <a:pt x="92" y="66"/>
                      </a:lnTo>
                      <a:lnTo>
                        <a:pt x="104" y="68"/>
                      </a:lnTo>
                      <a:lnTo>
                        <a:pt x="118" y="68"/>
                      </a:lnTo>
                      <a:lnTo>
                        <a:pt x="132" y="66"/>
                      </a:lnTo>
                      <a:lnTo>
                        <a:pt x="144" y="62"/>
                      </a:lnTo>
                      <a:lnTo>
                        <a:pt x="144" y="62"/>
                      </a:lnTo>
                      <a:lnTo>
                        <a:pt x="160" y="54"/>
                      </a:lnTo>
                      <a:lnTo>
                        <a:pt x="174" y="42"/>
                      </a:lnTo>
                      <a:lnTo>
                        <a:pt x="186" y="30"/>
                      </a:lnTo>
                      <a:lnTo>
                        <a:pt x="194" y="14"/>
                      </a:lnTo>
                      <a:lnTo>
                        <a:pt x="194" y="14"/>
                      </a:lnTo>
                      <a:lnTo>
                        <a:pt x="190" y="12"/>
                      </a:lnTo>
                      <a:lnTo>
                        <a:pt x="186" y="12"/>
                      </a:lnTo>
                      <a:lnTo>
                        <a:pt x="186" y="12"/>
                      </a:lnTo>
                      <a:lnTo>
                        <a:pt x="184" y="14"/>
                      </a:lnTo>
                      <a:lnTo>
                        <a:pt x="182" y="18"/>
                      </a:lnTo>
                      <a:lnTo>
                        <a:pt x="182" y="18"/>
                      </a:lnTo>
                      <a:lnTo>
                        <a:pt x="182" y="18"/>
                      </a:lnTo>
                      <a:lnTo>
                        <a:pt x="174" y="28"/>
                      </a:lnTo>
                      <a:lnTo>
                        <a:pt x="164" y="36"/>
                      </a:lnTo>
                      <a:lnTo>
                        <a:pt x="154" y="44"/>
                      </a:lnTo>
                      <a:lnTo>
                        <a:pt x="142" y="50"/>
                      </a:lnTo>
                      <a:lnTo>
                        <a:pt x="142" y="50"/>
                      </a:lnTo>
                      <a:lnTo>
                        <a:pt x="132" y="52"/>
                      </a:lnTo>
                      <a:lnTo>
                        <a:pt x="120" y="54"/>
                      </a:lnTo>
                      <a:lnTo>
                        <a:pt x="110" y="56"/>
                      </a:lnTo>
                      <a:lnTo>
                        <a:pt x="98" y="54"/>
                      </a:lnTo>
                      <a:lnTo>
                        <a:pt x="98" y="54"/>
                      </a:lnTo>
                      <a:lnTo>
                        <a:pt x="94" y="52"/>
                      </a:lnTo>
                      <a:lnTo>
                        <a:pt x="92" y="46"/>
                      </a:lnTo>
                      <a:lnTo>
                        <a:pt x="92" y="46"/>
                      </a:lnTo>
                      <a:lnTo>
                        <a:pt x="96" y="42"/>
                      </a:lnTo>
                      <a:lnTo>
                        <a:pt x="100" y="42"/>
                      </a:lnTo>
                      <a:lnTo>
                        <a:pt x="100" y="42"/>
                      </a:lnTo>
                      <a:lnTo>
                        <a:pt x="110" y="42"/>
                      </a:lnTo>
                      <a:lnTo>
                        <a:pt x="120" y="42"/>
                      </a:lnTo>
                      <a:lnTo>
                        <a:pt x="128" y="40"/>
                      </a:lnTo>
                      <a:lnTo>
                        <a:pt x="138" y="38"/>
                      </a:lnTo>
                      <a:lnTo>
                        <a:pt x="138" y="38"/>
                      </a:lnTo>
                      <a:lnTo>
                        <a:pt x="148" y="32"/>
                      </a:lnTo>
                      <a:lnTo>
                        <a:pt x="156" y="26"/>
                      </a:lnTo>
                      <a:lnTo>
                        <a:pt x="164" y="20"/>
                      </a:lnTo>
                      <a:lnTo>
                        <a:pt x="170" y="12"/>
                      </a:lnTo>
                      <a:lnTo>
                        <a:pt x="170" y="12"/>
                      </a:lnTo>
                      <a:lnTo>
                        <a:pt x="174" y="6"/>
                      </a:lnTo>
                      <a:lnTo>
                        <a:pt x="178" y="2"/>
                      </a:lnTo>
                      <a:lnTo>
                        <a:pt x="184" y="0"/>
                      </a:lnTo>
                      <a:lnTo>
                        <a:pt x="184" y="0"/>
                      </a:lnTo>
                      <a:lnTo>
                        <a:pt x="192" y="0"/>
                      </a:lnTo>
                      <a:lnTo>
                        <a:pt x="200" y="2"/>
                      </a:lnTo>
                      <a:lnTo>
                        <a:pt x="206" y="6"/>
                      </a:lnTo>
                      <a:lnTo>
                        <a:pt x="210" y="10"/>
                      </a:lnTo>
                      <a:lnTo>
                        <a:pt x="208" y="14"/>
                      </a:lnTo>
                      <a:lnTo>
                        <a:pt x="208" y="14"/>
                      </a:lnTo>
                      <a:lnTo>
                        <a:pt x="198" y="34"/>
                      </a:lnTo>
                      <a:lnTo>
                        <a:pt x="186" y="50"/>
                      </a:lnTo>
                      <a:lnTo>
                        <a:pt x="168" y="64"/>
                      </a:lnTo>
                      <a:lnTo>
                        <a:pt x="150" y="74"/>
                      </a:lnTo>
                      <a:lnTo>
                        <a:pt x="150" y="74"/>
                      </a:lnTo>
                      <a:lnTo>
                        <a:pt x="132" y="80"/>
                      </a:lnTo>
                      <a:lnTo>
                        <a:pt x="112" y="82"/>
                      </a:lnTo>
                      <a:lnTo>
                        <a:pt x="112"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85" name="Freeform 17"/>
                <p:cNvSpPr>
                  <a:spLocks/>
                </p:cNvSpPr>
                <p:nvPr/>
              </p:nvSpPr>
              <p:spPr bwMode="auto">
                <a:xfrm>
                  <a:off x="2481262" y="2514600"/>
                  <a:ext cx="234950" cy="85725"/>
                </a:xfrm>
                <a:custGeom>
                  <a:avLst/>
                  <a:gdLst>
                    <a:gd name="T0" fmla="*/ 140 w 148"/>
                    <a:gd name="T1" fmla="*/ 54 h 54"/>
                    <a:gd name="T2" fmla="*/ 140 w 148"/>
                    <a:gd name="T3" fmla="*/ 54 h 54"/>
                    <a:gd name="T4" fmla="*/ 136 w 148"/>
                    <a:gd name="T5" fmla="*/ 54 h 54"/>
                    <a:gd name="T6" fmla="*/ 136 w 148"/>
                    <a:gd name="T7" fmla="*/ 54 h 54"/>
                    <a:gd name="T8" fmla="*/ 134 w 148"/>
                    <a:gd name="T9" fmla="*/ 50 h 54"/>
                    <a:gd name="T10" fmla="*/ 134 w 148"/>
                    <a:gd name="T11" fmla="*/ 46 h 54"/>
                    <a:gd name="T12" fmla="*/ 134 w 148"/>
                    <a:gd name="T13" fmla="*/ 46 h 54"/>
                    <a:gd name="T14" fmla="*/ 136 w 148"/>
                    <a:gd name="T15" fmla="*/ 42 h 54"/>
                    <a:gd name="T16" fmla="*/ 136 w 148"/>
                    <a:gd name="T17" fmla="*/ 36 h 54"/>
                    <a:gd name="T18" fmla="*/ 136 w 148"/>
                    <a:gd name="T19" fmla="*/ 36 h 54"/>
                    <a:gd name="T20" fmla="*/ 132 w 148"/>
                    <a:gd name="T21" fmla="*/ 34 h 54"/>
                    <a:gd name="T22" fmla="*/ 128 w 148"/>
                    <a:gd name="T23" fmla="*/ 34 h 54"/>
                    <a:gd name="T24" fmla="*/ 128 w 148"/>
                    <a:gd name="T25" fmla="*/ 34 h 54"/>
                    <a:gd name="T26" fmla="*/ 120 w 148"/>
                    <a:gd name="T27" fmla="*/ 36 h 54"/>
                    <a:gd name="T28" fmla="*/ 110 w 148"/>
                    <a:gd name="T29" fmla="*/ 36 h 54"/>
                    <a:gd name="T30" fmla="*/ 98 w 148"/>
                    <a:gd name="T31" fmla="*/ 36 h 54"/>
                    <a:gd name="T32" fmla="*/ 92 w 148"/>
                    <a:gd name="T33" fmla="*/ 32 h 54"/>
                    <a:gd name="T34" fmla="*/ 88 w 148"/>
                    <a:gd name="T35" fmla="*/ 28 h 54"/>
                    <a:gd name="T36" fmla="*/ 86 w 148"/>
                    <a:gd name="T37" fmla="*/ 28 h 54"/>
                    <a:gd name="T38" fmla="*/ 86 w 148"/>
                    <a:gd name="T39" fmla="*/ 28 h 54"/>
                    <a:gd name="T40" fmla="*/ 78 w 148"/>
                    <a:gd name="T41" fmla="*/ 18 h 54"/>
                    <a:gd name="T42" fmla="*/ 70 w 148"/>
                    <a:gd name="T43" fmla="*/ 14 h 54"/>
                    <a:gd name="T44" fmla="*/ 64 w 148"/>
                    <a:gd name="T45" fmla="*/ 12 h 54"/>
                    <a:gd name="T46" fmla="*/ 60 w 148"/>
                    <a:gd name="T47" fmla="*/ 12 h 54"/>
                    <a:gd name="T48" fmla="*/ 48 w 148"/>
                    <a:gd name="T49" fmla="*/ 18 h 54"/>
                    <a:gd name="T50" fmla="*/ 46 w 148"/>
                    <a:gd name="T51" fmla="*/ 18 h 54"/>
                    <a:gd name="T52" fmla="*/ 6 w 148"/>
                    <a:gd name="T53" fmla="*/ 18 h 54"/>
                    <a:gd name="T54" fmla="*/ 6 w 148"/>
                    <a:gd name="T55" fmla="*/ 18 h 54"/>
                    <a:gd name="T56" fmla="*/ 2 w 148"/>
                    <a:gd name="T57" fmla="*/ 16 h 54"/>
                    <a:gd name="T58" fmla="*/ 0 w 148"/>
                    <a:gd name="T59" fmla="*/ 12 h 54"/>
                    <a:gd name="T60" fmla="*/ 0 w 148"/>
                    <a:gd name="T61" fmla="*/ 12 h 54"/>
                    <a:gd name="T62" fmla="*/ 2 w 148"/>
                    <a:gd name="T63" fmla="*/ 6 h 54"/>
                    <a:gd name="T64" fmla="*/ 6 w 148"/>
                    <a:gd name="T65" fmla="*/ 6 h 54"/>
                    <a:gd name="T66" fmla="*/ 42 w 148"/>
                    <a:gd name="T67" fmla="*/ 6 h 54"/>
                    <a:gd name="T68" fmla="*/ 42 w 148"/>
                    <a:gd name="T69" fmla="*/ 6 h 54"/>
                    <a:gd name="T70" fmla="*/ 52 w 148"/>
                    <a:gd name="T71" fmla="*/ 2 h 54"/>
                    <a:gd name="T72" fmla="*/ 60 w 148"/>
                    <a:gd name="T73" fmla="*/ 0 h 54"/>
                    <a:gd name="T74" fmla="*/ 68 w 148"/>
                    <a:gd name="T75" fmla="*/ 0 h 54"/>
                    <a:gd name="T76" fmla="*/ 74 w 148"/>
                    <a:gd name="T77" fmla="*/ 2 h 54"/>
                    <a:gd name="T78" fmla="*/ 86 w 148"/>
                    <a:gd name="T79" fmla="*/ 8 h 54"/>
                    <a:gd name="T80" fmla="*/ 96 w 148"/>
                    <a:gd name="T81" fmla="*/ 18 h 54"/>
                    <a:gd name="T82" fmla="*/ 96 w 148"/>
                    <a:gd name="T83" fmla="*/ 20 h 54"/>
                    <a:gd name="T84" fmla="*/ 96 w 148"/>
                    <a:gd name="T85" fmla="*/ 20 h 54"/>
                    <a:gd name="T86" fmla="*/ 100 w 148"/>
                    <a:gd name="T87" fmla="*/ 22 h 54"/>
                    <a:gd name="T88" fmla="*/ 104 w 148"/>
                    <a:gd name="T89" fmla="*/ 24 h 54"/>
                    <a:gd name="T90" fmla="*/ 114 w 148"/>
                    <a:gd name="T91" fmla="*/ 24 h 54"/>
                    <a:gd name="T92" fmla="*/ 124 w 148"/>
                    <a:gd name="T93" fmla="*/ 20 h 54"/>
                    <a:gd name="T94" fmla="*/ 126 w 148"/>
                    <a:gd name="T95" fmla="*/ 20 h 54"/>
                    <a:gd name="T96" fmla="*/ 126 w 148"/>
                    <a:gd name="T97" fmla="*/ 20 h 54"/>
                    <a:gd name="T98" fmla="*/ 126 w 148"/>
                    <a:gd name="T99" fmla="*/ 20 h 54"/>
                    <a:gd name="T100" fmla="*/ 134 w 148"/>
                    <a:gd name="T101" fmla="*/ 22 h 54"/>
                    <a:gd name="T102" fmla="*/ 142 w 148"/>
                    <a:gd name="T103" fmla="*/ 26 h 54"/>
                    <a:gd name="T104" fmla="*/ 146 w 148"/>
                    <a:gd name="T105" fmla="*/ 30 h 54"/>
                    <a:gd name="T106" fmla="*/ 146 w 148"/>
                    <a:gd name="T107" fmla="*/ 30 h 54"/>
                    <a:gd name="T108" fmla="*/ 148 w 148"/>
                    <a:gd name="T109" fmla="*/ 34 h 54"/>
                    <a:gd name="T110" fmla="*/ 148 w 148"/>
                    <a:gd name="T111" fmla="*/ 38 h 54"/>
                    <a:gd name="T112" fmla="*/ 148 w 148"/>
                    <a:gd name="T113" fmla="*/ 44 h 54"/>
                    <a:gd name="T114" fmla="*/ 146 w 148"/>
                    <a:gd name="T115" fmla="*/ 50 h 54"/>
                    <a:gd name="T116" fmla="*/ 146 w 148"/>
                    <a:gd name="T117" fmla="*/ 50 h 54"/>
                    <a:gd name="T118" fmla="*/ 142 w 148"/>
                    <a:gd name="T119" fmla="*/ 54 h 54"/>
                    <a:gd name="T120" fmla="*/ 140 w 148"/>
                    <a:gd name="T121" fmla="*/ 54 h 54"/>
                    <a:gd name="T122" fmla="*/ 140 w 148"/>
                    <a:gd name="T1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 h="54">
                      <a:moveTo>
                        <a:pt x="140" y="54"/>
                      </a:moveTo>
                      <a:lnTo>
                        <a:pt x="140" y="54"/>
                      </a:lnTo>
                      <a:lnTo>
                        <a:pt x="136" y="54"/>
                      </a:lnTo>
                      <a:lnTo>
                        <a:pt x="136" y="54"/>
                      </a:lnTo>
                      <a:lnTo>
                        <a:pt x="134" y="50"/>
                      </a:lnTo>
                      <a:lnTo>
                        <a:pt x="134" y="46"/>
                      </a:lnTo>
                      <a:lnTo>
                        <a:pt x="134" y="46"/>
                      </a:lnTo>
                      <a:lnTo>
                        <a:pt x="136" y="42"/>
                      </a:lnTo>
                      <a:lnTo>
                        <a:pt x="136" y="36"/>
                      </a:lnTo>
                      <a:lnTo>
                        <a:pt x="136" y="36"/>
                      </a:lnTo>
                      <a:lnTo>
                        <a:pt x="132" y="34"/>
                      </a:lnTo>
                      <a:lnTo>
                        <a:pt x="128" y="34"/>
                      </a:lnTo>
                      <a:lnTo>
                        <a:pt x="128" y="34"/>
                      </a:lnTo>
                      <a:lnTo>
                        <a:pt x="120" y="36"/>
                      </a:lnTo>
                      <a:lnTo>
                        <a:pt x="110" y="36"/>
                      </a:lnTo>
                      <a:lnTo>
                        <a:pt x="98" y="36"/>
                      </a:lnTo>
                      <a:lnTo>
                        <a:pt x="92" y="32"/>
                      </a:lnTo>
                      <a:lnTo>
                        <a:pt x="88" y="28"/>
                      </a:lnTo>
                      <a:lnTo>
                        <a:pt x="86" y="28"/>
                      </a:lnTo>
                      <a:lnTo>
                        <a:pt x="86" y="28"/>
                      </a:lnTo>
                      <a:lnTo>
                        <a:pt x="78" y="18"/>
                      </a:lnTo>
                      <a:lnTo>
                        <a:pt x="70" y="14"/>
                      </a:lnTo>
                      <a:lnTo>
                        <a:pt x="64" y="12"/>
                      </a:lnTo>
                      <a:lnTo>
                        <a:pt x="60" y="12"/>
                      </a:lnTo>
                      <a:lnTo>
                        <a:pt x="48" y="18"/>
                      </a:lnTo>
                      <a:lnTo>
                        <a:pt x="46" y="18"/>
                      </a:lnTo>
                      <a:lnTo>
                        <a:pt x="6" y="18"/>
                      </a:lnTo>
                      <a:lnTo>
                        <a:pt x="6" y="18"/>
                      </a:lnTo>
                      <a:lnTo>
                        <a:pt x="2" y="16"/>
                      </a:lnTo>
                      <a:lnTo>
                        <a:pt x="0" y="12"/>
                      </a:lnTo>
                      <a:lnTo>
                        <a:pt x="0" y="12"/>
                      </a:lnTo>
                      <a:lnTo>
                        <a:pt x="2" y="6"/>
                      </a:lnTo>
                      <a:lnTo>
                        <a:pt x="6" y="6"/>
                      </a:lnTo>
                      <a:lnTo>
                        <a:pt x="42" y="6"/>
                      </a:lnTo>
                      <a:lnTo>
                        <a:pt x="42" y="6"/>
                      </a:lnTo>
                      <a:lnTo>
                        <a:pt x="52" y="2"/>
                      </a:lnTo>
                      <a:lnTo>
                        <a:pt x="60" y="0"/>
                      </a:lnTo>
                      <a:lnTo>
                        <a:pt x="68" y="0"/>
                      </a:lnTo>
                      <a:lnTo>
                        <a:pt x="74" y="2"/>
                      </a:lnTo>
                      <a:lnTo>
                        <a:pt x="86" y="8"/>
                      </a:lnTo>
                      <a:lnTo>
                        <a:pt x="96" y="18"/>
                      </a:lnTo>
                      <a:lnTo>
                        <a:pt x="96" y="20"/>
                      </a:lnTo>
                      <a:lnTo>
                        <a:pt x="96" y="20"/>
                      </a:lnTo>
                      <a:lnTo>
                        <a:pt x="100" y="22"/>
                      </a:lnTo>
                      <a:lnTo>
                        <a:pt x="104" y="24"/>
                      </a:lnTo>
                      <a:lnTo>
                        <a:pt x="114" y="24"/>
                      </a:lnTo>
                      <a:lnTo>
                        <a:pt x="124" y="20"/>
                      </a:lnTo>
                      <a:lnTo>
                        <a:pt x="126" y="20"/>
                      </a:lnTo>
                      <a:lnTo>
                        <a:pt x="126" y="20"/>
                      </a:lnTo>
                      <a:lnTo>
                        <a:pt x="126" y="20"/>
                      </a:lnTo>
                      <a:lnTo>
                        <a:pt x="134" y="22"/>
                      </a:lnTo>
                      <a:lnTo>
                        <a:pt x="142" y="26"/>
                      </a:lnTo>
                      <a:lnTo>
                        <a:pt x="146" y="30"/>
                      </a:lnTo>
                      <a:lnTo>
                        <a:pt x="146" y="30"/>
                      </a:lnTo>
                      <a:lnTo>
                        <a:pt x="148" y="34"/>
                      </a:lnTo>
                      <a:lnTo>
                        <a:pt x="148" y="38"/>
                      </a:lnTo>
                      <a:lnTo>
                        <a:pt x="148" y="44"/>
                      </a:lnTo>
                      <a:lnTo>
                        <a:pt x="146" y="50"/>
                      </a:lnTo>
                      <a:lnTo>
                        <a:pt x="146" y="50"/>
                      </a:lnTo>
                      <a:lnTo>
                        <a:pt x="142" y="54"/>
                      </a:lnTo>
                      <a:lnTo>
                        <a:pt x="140" y="54"/>
                      </a:lnTo>
                      <a:lnTo>
                        <a:pt x="14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86" name="Freeform 18"/>
                <p:cNvSpPr>
                  <a:spLocks/>
                </p:cNvSpPr>
                <p:nvPr/>
              </p:nvSpPr>
              <p:spPr bwMode="auto">
                <a:xfrm>
                  <a:off x="2532062" y="2327275"/>
                  <a:ext cx="238125" cy="222250"/>
                </a:xfrm>
                <a:custGeom>
                  <a:avLst/>
                  <a:gdLst>
                    <a:gd name="T0" fmla="*/ 144 w 150"/>
                    <a:gd name="T1" fmla="*/ 140 h 140"/>
                    <a:gd name="T2" fmla="*/ 144 w 150"/>
                    <a:gd name="T3" fmla="*/ 140 h 140"/>
                    <a:gd name="T4" fmla="*/ 140 w 150"/>
                    <a:gd name="T5" fmla="*/ 138 h 140"/>
                    <a:gd name="T6" fmla="*/ 138 w 150"/>
                    <a:gd name="T7" fmla="*/ 134 h 140"/>
                    <a:gd name="T8" fmla="*/ 138 w 150"/>
                    <a:gd name="T9" fmla="*/ 12 h 140"/>
                    <a:gd name="T10" fmla="*/ 14 w 150"/>
                    <a:gd name="T11" fmla="*/ 12 h 140"/>
                    <a:gd name="T12" fmla="*/ 14 w 150"/>
                    <a:gd name="T13" fmla="*/ 128 h 140"/>
                    <a:gd name="T14" fmla="*/ 14 w 150"/>
                    <a:gd name="T15" fmla="*/ 128 h 140"/>
                    <a:gd name="T16" fmla="*/ 12 w 150"/>
                    <a:gd name="T17" fmla="*/ 134 h 140"/>
                    <a:gd name="T18" fmla="*/ 6 w 150"/>
                    <a:gd name="T19" fmla="*/ 134 h 140"/>
                    <a:gd name="T20" fmla="*/ 6 w 150"/>
                    <a:gd name="T21" fmla="*/ 134 h 140"/>
                    <a:gd name="T22" fmla="*/ 2 w 150"/>
                    <a:gd name="T23" fmla="*/ 134 h 140"/>
                    <a:gd name="T24" fmla="*/ 0 w 150"/>
                    <a:gd name="T25" fmla="*/ 128 h 140"/>
                    <a:gd name="T26" fmla="*/ 0 w 150"/>
                    <a:gd name="T27" fmla="*/ 0 h 140"/>
                    <a:gd name="T28" fmla="*/ 150 w 150"/>
                    <a:gd name="T29" fmla="*/ 0 h 140"/>
                    <a:gd name="T30" fmla="*/ 150 w 150"/>
                    <a:gd name="T31" fmla="*/ 134 h 140"/>
                    <a:gd name="T32" fmla="*/ 150 w 150"/>
                    <a:gd name="T33" fmla="*/ 134 h 140"/>
                    <a:gd name="T34" fmla="*/ 148 w 150"/>
                    <a:gd name="T35" fmla="*/ 138 h 140"/>
                    <a:gd name="T36" fmla="*/ 144 w 150"/>
                    <a:gd name="T37" fmla="*/ 140 h 140"/>
                    <a:gd name="T38" fmla="*/ 144 w 150"/>
                    <a:gd name="T39"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0">
                      <a:moveTo>
                        <a:pt x="144" y="140"/>
                      </a:moveTo>
                      <a:lnTo>
                        <a:pt x="144" y="140"/>
                      </a:lnTo>
                      <a:lnTo>
                        <a:pt x="140" y="138"/>
                      </a:lnTo>
                      <a:lnTo>
                        <a:pt x="138" y="134"/>
                      </a:lnTo>
                      <a:lnTo>
                        <a:pt x="138" y="12"/>
                      </a:lnTo>
                      <a:lnTo>
                        <a:pt x="14" y="12"/>
                      </a:lnTo>
                      <a:lnTo>
                        <a:pt x="14" y="128"/>
                      </a:lnTo>
                      <a:lnTo>
                        <a:pt x="14" y="128"/>
                      </a:lnTo>
                      <a:lnTo>
                        <a:pt x="12" y="134"/>
                      </a:lnTo>
                      <a:lnTo>
                        <a:pt x="6" y="134"/>
                      </a:lnTo>
                      <a:lnTo>
                        <a:pt x="6" y="134"/>
                      </a:lnTo>
                      <a:lnTo>
                        <a:pt x="2" y="134"/>
                      </a:lnTo>
                      <a:lnTo>
                        <a:pt x="0" y="128"/>
                      </a:lnTo>
                      <a:lnTo>
                        <a:pt x="0" y="0"/>
                      </a:lnTo>
                      <a:lnTo>
                        <a:pt x="150" y="0"/>
                      </a:lnTo>
                      <a:lnTo>
                        <a:pt x="150" y="134"/>
                      </a:lnTo>
                      <a:lnTo>
                        <a:pt x="150" y="134"/>
                      </a:lnTo>
                      <a:lnTo>
                        <a:pt x="148" y="138"/>
                      </a:lnTo>
                      <a:lnTo>
                        <a:pt x="144" y="140"/>
                      </a:lnTo>
                      <a:lnTo>
                        <a:pt x="144"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grpSp>
          <p:grpSp>
            <p:nvGrpSpPr>
              <p:cNvPr id="60" name="Group 291"/>
              <p:cNvGrpSpPr/>
              <p:nvPr/>
            </p:nvGrpSpPr>
            <p:grpSpPr>
              <a:xfrm>
                <a:off x="3051175" y="1751013"/>
                <a:ext cx="333375" cy="327025"/>
                <a:chOff x="3051175" y="1751013"/>
                <a:chExt cx="333375" cy="327025"/>
              </a:xfrm>
            </p:grpSpPr>
            <p:sp>
              <p:nvSpPr>
                <p:cNvPr id="75" name="Freeform 22"/>
                <p:cNvSpPr>
                  <a:spLocks/>
                </p:cNvSpPr>
                <p:nvPr/>
              </p:nvSpPr>
              <p:spPr bwMode="auto">
                <a:xfrm>
                  <a:off x="3232150" y="1798638"/>
                  <a:ext cx="101600" cy="101600"/>
                </a:xfrm>
                <a:custGeom>
                  <a:avLst/>
                  <a:gdLst>
                    <a:gd name="T0" fmla="*/ 6 w 64"/>
                    <a:gd name="T1" fmla="*/ 64 h 64"/>
                    <a:gd name="T2" fmla="*/ 6 w 64"/>
                    <a:gd name="T3" fmla="*/ 64 h 64"/>
                    <a:gd name="T4" fmla="*/ 2 w 64"/>
                    <a:gd name="T5" fmla="*/ 62 h 64"/>
                    <a:gd name="T6" fmla="*/ 2 w 64"/>
                    <a:gd name="T7" fmla="*/ 62 h 64"/>
                    <a:gd name="T8" fmla="*/ 0 w 64"/>
                    <a:gd name="T9" fmla="*/ 58 h 64"/>
                    <a:gd name="T10" fmla="*/ 2 w 64"/>
                    <a:gd name="T11" fmla="*/ 54 h 64"/>
                    <a:gd name="T12" fmla="*/ 54 w 64"/>
                    <a:gd name="T13" fmla="*/ 2 h 64"/>
                    <a:gd name="T14" fmla="*/ 54 w 64"/>
                    <a:gd name="T15" fmla="*/ 2 h 64"/>
                    <a:gd name="T16" fmla="*/ 58 w 64"/>
                    <a:gd name="T17" fmla="*/ 0 h 64"/>
                    <a:gd name="T18" fmla="*/ 64 w 64"/>
                    <a:gd name="T19" fmla="*/ 2 h 64"/>
                    <a:gd name="T20" fmla="*/ 64 w 64"/>
                    <a:gd name="T21" fmla="*/ 2 h 64"/>
                    <a:gd name="T22" fmla="*/ 64 w 64"/>
                    <a:gd name="T23" fmla="*/ 6 h 64"/>
                    <a:gd name="T24" fmla="*/ 64 w 64"/>
                    <a:gd name="T25" fmla="*/ 10 h 64"/>
                    <a:gd name="T26" fmla="*/ 10 w 64"/>
                    <a:gd name="T27" fmla="*/ 62 h 64"/>
                    <a:gd name="T28" fmla="*/ 10 w 64"/>
                    <a:gd name="T29" fmla="*/ 62 h 64"/>
                    <a:gd name="T30" fmla="*/ 6 w 64"/>
                    <a:gd name="T31" fmla="*/ 64 h 64"/>
                    <a:gd name="T32" fmla="*/ 6 w 64"/>
                    <a:gd name="T3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64">
                      <a:moveTo>
                        <a:pt x="6" y="64"/>
                      </a:moveTo>
                      <a:lnTo>
                        <a:pt x="6" y="64"/>
                      </a:lnTo>
                      <a:lnTo>
                        <a:pt x="2" y="62"/>
                      </a:lnTo>
                      <a:lnTo>
                        <a:pt x="2" y="62"/>
                      </a:lnTo>
                      <a:lnTo>
                        <a:pt x="0" y="58"/>
                      </a:lnTo>
                      <a:lnTo>
                        <a:pt x="2" y="54"/>
                      </a:lnTo>
                      <a:lnTo>
                        <a:pt x="54" y="2"/>
                      </a:lnTo>
                      <a:lnTo>
                        <a:pt x="54" y="2"/>
                      </a:lnTo>
                      <a:lnTo>
                        <a:pt x="58" y="0"/>
                      </a:lnTo>
                      <a:lnTo>
                        <a:pt x="64" y="2"/>
                      </a:lnTo>
                      <a:lnTo>
                        <a:pt x="64" y="2"/>
                      </a:lnTo>
                      <a:lnTo>
                        <a:pt x="64" y="6"/>
                      </a:lnTo>
                      <a:lnTo>
                        <a:pt x="64" y="10"/>
                      </a:lnTo>
                      <a:lnTo>
                        <a:pt x="10" y="62"/>
                      </a:lnTo>
                      <a:lnTo>
                        <a:pt x="10" y="62"/>
                      </a:lnTo>
                      <a:lnTo>
                        <a:pt x="6" y="64"/>
                      </a:lnTo>
                      <a:lnTo>
                        <a:pt x="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76" name="Freeform 23"/>
                <p:cNvSpPr>
                  <a:spLocks/>
                </p:cNvSpPr>
                <p:nvPr/>
              </p:nvSpPr>
              <p:spPr bwMode="auto">
                <a:xfrm>
                  <a:off x="3282950" y="1751013"/>
                  <a:ext cx="101600" cy="101600"/>
                </a:xfrm>
                <a:custGeom>
                  <a:avLst/>
                  <a:gdLst>
                    <a:gd name="T0" fmla="*/ 56 w 64"/>
                    <a:gd name="T1" fmla="*/ 64 h 64"/>
                    <a:gd name="T2" fmla="*/ 56 w 64"/>
                    <a:gd name="T3" fmla="*/ 64 h 64"/>
                    <a:gd name="T4" fmla="*/ 52 w 64"/>
                    <a:gd name="T5" fmla="*/ 62 h 64"/>
                    <a:gd name="T6" fmla="*/ 50 w 64"/>
                    <a:gd name="T7" fmla="*/ 58 h 64"/>
                    <a:gd name="T8" fmla="*/ 50 w 64"/>
                    <a:gd name="T9" fmla="*/ 12 h 64"/>
                    <a:gd name="T10" fmla="*/ 6 w 64"/>
                    <a:gd name="T11" fmla="*/ 12 h 64"/>
                    <a:gd name="T12" fmla="*/ 6 w 64"/>
                    <a:gd name="T13" fmla="*/ 12 h 64"/>
                    <a:gd name="T14" fmla="*/ 6 w 64"/>
                    <a:gd name="T15" fmla="*/ 12 h 64"/>
                    <a:gd name="T16" fmla="*/ 2 w 64"/>
                    <a:gd name="T17" fmla="*/ 10 h 64"/>
                    <a:gd name="T18" fmla="*/ 0 w 64"/>
                    <a:gd name="T19" fmla="*/ 6 h 64"/>
                    <a:gd name="T20" fmla="*/ 0 w 64"/>
                    <a:gd name="T21" fmla="*/ 6 h 64"/>
                    <a:gd name="T22" fmla="*/ 2 w 64"/>
                    <a:gd name="T23" fmla="*/ 2 h 64"/>
                    <a:gd name="T24" fmla="*/ 6 w 64"/>
                    <a:gd name="T25" fmla="*/ 0 h 64"/>
                    <a:gd name="T26" fmla="*/ 62 w 64"/>
                    <a:gd name="T27" fmla="*/ 0 h 64"/>
                    <a:gd name="T28" fmla="*/ 64 w 64"/>
                    <a:gd name="T29" fmla="*/ 58 h 64"/>
                    <a:gd name="T30" fmla="*/ 64 w 64"/>
                    <a:gd name="T31" fmla="*/ 58 h 64"/>
                    <a:gd name="T32" fmla="*/ 62 w 64"/>
                    <a:gd name="T33" fmla="*/ 62 h 64"/>
                    <a:gd name="T34" fmla="*/ 56 w 64"/>
                    <a:gd name="T35" fmla="*/ 64 h 64"/>
                    <a:gd name="T36" fmla="*/ 56 w 64"/>
                    <a:gd name="T37" fmla="*/ 64 h 64"/>
                    <a:gd name="T38" fmla="*/ 56 w 64"/>
                    <a:gd name="T39" fmla="*/ 64 h 64"/>
                    <a:gd name="T40" fmla="*/ 56 w 64"/>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64">
                      <a:moveTo>
                        <a:pt x="56" y="64"/>
                      </a:moveTo>
                      <a:lnTo>
                        <a:pt x="56" y="64"/>
                      </a:lnTo>
                      <a:lnTo>
                        <a:pt x="52" y="62"/>
                      </a:lnTo>
                      <a:lnTo>
                        <a:pt x="50" y="58"/>
                      </a:lnTo>
                      <a:lnTo>
                        <a:pt x="50" y="12"/>
                      </a:lnTo>
                      <a:lnTo>
                        <a:pt x="6" y="12"/>
                      </a:lnTo>
                      <a:lnTo>
                        <a:pt x="6" y="12"/>
                      </a:lnTo>
                      <a:lnTo>
                        <a:pt x="6" y="12"/>
                      </a:lnTo>
                      <a:lnTo>
                        <a:pt x="2" y="10"/>
                      </a:lnTo>
                      <a:lnTo>
                        <a:pt x="0" y="6"/>
                      </a:lnTo>
                      <a:lnTo>
                        <a:pt x="0" y="6"/>
                      </a:lnTo>
                      <a:lnTo>
                        <a:pt x="2" y="2"/>
                      </a:lnTo>
                      <a:lnTo>
                        <a:pt x="6" y="0"/>
                      </a:lnTo>
                      <a:lnTo>
                        <a:pt x="62" y="0"/>
                      </a:lnTo>
                      <a:lnTo>
                        <a:pt x="64" y="58"/>
                      </a:lnTo>
                      <a:lnTo>
                        <a:pt x="64" y="58"/>
                      </a:lnTo>
                      <a:lnTo>
                        <a:pt x="62" y="62"/>
                      </a:lnTo>
                      <a:lnTo>
                        <a:pt x="56" y="64"/>
                      </a:lnTo>
                      <a:lnTo>
                        <a:pt x="56" y="64"/>
                      </a:lnTo>
                      <a:lnTo>
                        <a:pt x="56" y="64"/>
                      </a:lnTo>
                      <a:lnTo>
                        <a:pt x="5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77" name="Freeform 24"/>
                <p:cNvSpPr>
                  <a:spLocks/>
                </p:cNvSpPr>
                <p:nvPr/>
              </p:nvSpPr>
              <p:spPr bwMode="auto">
                <a:xfrm>
                  <a:off x="3232150" y="1970088"/>
                  <a:ext cx="101600" cy="101600"/>
                </a:xfrm>
                <a:custGeom>
                  <a:avLst/>
                  <a:gdLst>
                    <a:gd name="T0" fmla="*/ 6 w 64"/>
                    <a:gd name="T1" fmla="*/ 64 h 64"/>
                    <a:gd name="T2" fmla="*/ 6 w 64"/>
                    <a:gd name="T3" fmla="*/ 64 h 64"/>
                    <a:gd name="T4" fmla="*/ 2 w 64"/>
                    <a:gd name="T5" fmla="*/ 62 h 64"/>
                    <a:gd name="T6" fmla="*/ 2 w 64"/>
                    <a:gd name="T7" fmla="*/ 62 h 64"/>
                    <a:gd name="T8" fmla="*/ 0 w 64"/>
                    <a:gd name="T9" fmla="*/ 58 h 64"/>
                    <a:gd name="T10" fmla="*/ 2 w 64"/>
                    <a:gd name="T11" fmla="*/ 54 h 64"/>
                    <a:gd name="T12" fmla="*/ 54 w 64"/>
                    <a:gd name="T13" fmla="*/ 2 h 64"/>
                    <a:gd name="T14" fmla="*/ 54 w 64"/>
                    <a:gd name="T15" fmla="*/ 2 h 64"/>
                    <a:gd name="T16" fmla="*/ 58 w 64"/>
                    <a:gd name="T17" fmla="*/ 0 h 64"/>
                    <a:gd name="T18" fmla="*/ 64 w 64"/>
                    <a:gd name="T19" fmla="*/ 2 h 64"/>
                    <a:gd name="T20" fmla="*/ 64 w 64"/>
                    <a:gd name="T21" fmla="*/ 2 h 64"/>
                    <a:gd name="T22" fmla="*/ 64 w 64"/>
                    <a:gd name="T23" fmla="*/ 6 h 64"/>
                    <a:gd name="T24" fmla="*/ 64 w 64"/>
                    <a:gd name="T25" fmla="*/ 10 h 64"/>
                    <a:gd name="T26" fmla="*/ 10 w 64"/>
                    <a:gd name="T27" fmla="*/ 62 h 64"/>
                    <a:gd name="T28" fmla="*/ 10 w 64"/>
                    <a:gd name="T29" fmla="*/ 62 h 64"/>
                    <a:gd name="T30" fmla="*/ 6 w 64"/>
                    <a:gd name="T31" fmla="*/ 64 h 64"/>
                    <a:gd name="T32" fmla="*/ 6 w 64"/>
                    <a:gd name="T3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64">
                      <a:moveTo>
                        <a:pt x="6" y="64"/>
                      </a:moveTo>
                      <a:lnTo>
                        <a:pt x="6" y="64"/>
                      </a:lnTo>
                      <a:lnTo>
                        <a:pt x="2" y="62"/>
                      </a:lnTo>
                      <a:lnTo>
                        <a:pt x="2" y="62"/>
                      </a:lnTo>
                      <a:lnTo>
                        <a:pt x="0" y="58"/>
                      </a:lnTo>
                      <a:lnTo>
                        <a:pt x="2" y="54"/>
                      </a:lnTo>
                      <a:lnTo>
                        <a:pt x="54" y="2"/>
                      </a:lnTo>
                      <a:lnTo>
                        <a:pt x="54" y="2"/>
                      </a:lnTo>
                      <a:lnTo>
                        <a:pt x="58" y="0"/>
                      </a:lnTo>
                      <a:lnTo>
                        <a:pt x="64" y="2"/>
                      </a:lnTo>
                      <a:lnTo>
                        <a:pt x="64" y="2"/>
                      </a:lnTo>
                      <a:lnTo>
                        <a:pt x="64" y="6"/>
                      </a:lnTo>
                      <a:lnTo>
                        <a:pt x="64" y="10"/>
                      </a:lnTo>
                      <a:lnTo>
                        <a:pt x="10" y="62"/>
                      </a:lnTo>
                      <a:lnTo>
                        <a:pt x="10" y="62"/>
                      </a:lnTo>
                      <a:lnTo>
                        <a:pt x="6" y="64"/>
                      </a:lnTo>
                      <a:lnTo>
                        <a:pt x="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78" name="Freeform 25"/>
                <p:cNvSpPr>
                  <a:spLocks/>
                </p:cNvSpPr>
                <p:nvPr/>
              </p:nvSpPr>
              <p:spPr bwMode="auto">
                <a:xfrm>
                  <a:off x="3282950" y="1922463"/>
                  <a:ext cx="101600" cy="101600"/>
                </a:xfrm>
                <a:custGeom>
                  <a:avLst/>
                  <a:gdLst>
                    <a:gd name="T0" fmla="*/ 56 w 64"/>
                    <a:gd name="T1" fmla="*/ 64 h 64"/>
                    <a:gd name="T2" fmla="*/ 56 w 64"/>
                    <a:gd name="T3" fmla="*/ 64 h 64"/>
                    <a:gd name="T4" fmla="*/ 52 w 64"/>
                    <a:gd name="T5" fmla="*/ 62 h 64"/>
                    <a:gd name="T6" fmla="*/ 50 w 64"/>
                    <a:gd name="T7" fmla="*/ 58 h 64"/>
                    <a:gd name="T8" fmla="*/ 50 w 64"/>
                    <a:gd name="T9" fmla="*/ 12 h 64"/>
                    <a:gd name="T10" fmla="*/ 6 w 64"/>
                    <a:gd name="T11" fmla="*/ 12 h 64"/>
                    <a:gd name="T12" fmla="*/ 6 w 64"/>
                    <a:gd name="T13" fmla="*/ 12 h 64"/>
                    <a:gd name="T14" fmla="*/ 6 w 64"/>
                    <a:gd name="T15" fmla="*/ 12 h 64"/>
                    <a:gd name="T16" fmla="*/ 2 w 64"/>
                    <a:gd name="T17" fmla="*/ 10 h 64"/>
                    <a:gd name="T18" fmla="*/ 0 w 64"/>
                    <a:gd name="T19" fmla="*/ 6 h 64"/>
                    <a:gd name="T20" fmla="*/ 0 w 64"/>
                    <a:gd name="T21" fmla="*/ 6 h 64"/>
                    <a:gd name="T22" fmla="*/ 2 w 64"/>
                    <a:gd name="T23" fmla="*/ 2 h 64"/>
                    <a:gd name="T24" fmla="*/ 6 w 64"/>
                    <a:gd name="T25" fmla="*/ 0 h 64"/>
                    <a:gd name="T26" fmla="*/ 62 w 64"/>
                    <a:gd name="T27" fmla="*/ 0 h 64"/>
                    <a:gd name="T28" fmla="*/ 64 w 64"/>
                    <a:gd name="T29" fmla="*/ 58 h 64"/>
                    <a:gd name="T30" fmla="*/ 64 w 64"/>
                    <a:gd name="T31" fmla="*/ 58 h 64"/>
                    <a:gd name="T32" fmla="*/ 62 w 64"/>
                    <a:gd name="T33" fmla="*/ 62 h 64"/>
                    <a:gd name="T34" fmla="*/ 56 w 64"/>
                    <a:gd name="T35" fmla="*/ 64 h 64"/>
                    <a:gd name="T36" fmla="*/ 56 w 64"/>
                    <a:gd name="T37" fmla="*/ 64 h 64"/>
                    <a:gd name="T38" fmla="*/ 56 w 64"/>
                    <a:gd name="T39" fmla="*/ 64 h 64"/>
                    <a:gd name="T40" fmla="*/ 56 w 64"/>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64">
                      <a:moveTo>
                        <a:pt x="56" y="64"/>
                      </a:moveTo>
                      <a:lnTo>
                        <a:pt x="56" y="64"/>
                      </a:lnTo>
                      <a:lnTo>
                        <a:pt x="52" y="62"/>
                      </a:lnTo>
                      <a:lnTo>
                        <a:pt x="50" y="58"/>
                      </a:lnTo>
                      <a:lnTo>
                        <a:pt x="50" y="12"/>
                      </a:lnTo>
                      <a:lnTo>
                        <a:pt x="6" y="12"/>
                      </a:lnTo>
                      <a:lnTo>
                        <a:pt x="6" y="12"/>
                      </a:lnTo>
                      <a:lnTo>
                        <a:pt x="6" y="12"/>
                      </a:lnTo>
                      <a:lnTo>
                        <a:pt x="2" y="10"/>
                      </a:lnTo>
                      <a:lnTo>
                        <a:pt x="0" y="6"/>
                      </a:lnTo>
                      <a:lnTo>
                        <a:pt x="0" y="6"/>
                      </a:lnTo>
                      <a:lnTo>
                        <a:pt x="2" y="2"/>
                      </a:lnTo>
                      <a:lnTo>
                        <a:pt x="6" y="0"/>
                      </a:lnTo>
                      <a:lnTo>
                        <a:pt x="62" y="0"/>
                      </a:lnTo>
                      <a:lnTo>
                        <a:pt x="64" y="58"/>
                      </a:lnTo>
                      <a:lnTo>
                        <a:pt x="64" y="58"/>
                      </a:lnTo>
                      <a:lnTo>
                        <a:pt x="62" y="62"/>
                      </a:lnTo>
                      <a:lnTo>
                        <a:pt x="56" y="64"/>
                      </a:lnTo>
                      <a:lnTo>
                        <a:pt x="56" y="64"/>
                      </a:lnTo>
                      <a:lnTo>
                        <a:pt x="56" y="64"/>
                      </a:lnTo>
                      <a:lnTo>
                        <a:pt x="5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79" name="Freeform 26"/>
                <p:cNvSpPr>
                  <a:spLocks/>
                </p:cNvSpPr>
                <p:nvPr/>
              </p:nvSpPr>
              <p:spPr bwMode="auto">
                <a:xfrm>
                  <a:off x="3051175" y="1798638"/>
                  <a:ext cx="104775" cy="101600"/>
                </a:xfrm>
                <a:custGeom>
                  <a:avLst/>
                  <a:gdLst>
                    <a:gd name="T0" fmla="*/ 6 w 66"/>
                    <a:gd name="T1" fmla="*/ 64 h 64"/>
                    <a:gd name="T2" fmla="*/ 6 w 66"/>
                    <a:gd name="T3" fmla="*/ 64 h 64"/>
                    <a:gd name="T4" fmla="*/ 2 w 66"/>
                    <a:gd name="T5" fmla="*/ 62 h 64"/>
                    <a:gd name="T6" fmla="*/ 2 w 66"/>
                    <a:gd name="T7" fmla="*/ 62 h 64"/>
                    <a:gd name="T8" fmla="*/ 0 w 66"/>
                    <a:gd name="T9" fmla="*/ 58 h 64"/>
                    <a:gd name="T10" fmla="*/ 2 w 66"/>
                    <a:gd name="T11" fmla="*/ 54 h 64"/>
                    <a:gd name="T12" fmla="*/ 54 w 66"/>
                    <a:gd name="T13" fmla="*/ 2 h 64"/>
                    <a:gd name="T14" fmla="*/ 54 w 66"/>
                    <a:gd name="T15" fmla="*/ 2 h 64"/>
                    <a:gd name="T16" fmla="*/ 58 w 66"/>
                    <a:gd name="T17" fmla="*/ 0 h 64"/>
                    <a:gd name="T18" fmla="*/ 64 w 66"/>
                    <a:gd name="T19" fmla="*/ 2 h 64"/>
                    <a:gd name="T20" fmla="*/ 64 w 66"/>
                    <a:gd name="T21" fmla="*/ 2 h 64"/>
                    <a:gd name="T22" fmla="*/ 66 w 66"/>
                    <a:gd name="T23" fmla="*/ 6 h 64"/>
                    <a:gd name="T24" fmla="*/ 64 w 66"/>
                    <a:gd name="T25" fmla="*/ 10 h 64"/>
                    <a:gd name="T26" fmla="*/ 10 w 66"/>
                    <a:gd name="T27" fmla="*/ 62 h 64"/>
                    <a:gd name="T28" fmla="*/ 10 w 66"/>
                    <a:gd name="T29" fmla="*/ 62 h 64"/>
                    <a:gd name="T30" fmla="*/ 6 w 66"/>
                    <a:gd name="T31" fmla="*/ 64 h 64"/>
                    <a:gd name="T32" fmla="*/ 6 w 66"/>
                    <a:gd name="T3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4">
                      <a:moveTo>
                        <a:pt x="6" y="64"/>
                      </a:moveTo>
                      <a:lnTo>
                        <a:pt x="6" y="64"/>
                      </a:lnTo>
                      <a:lnTo>
                        <a:pt x="2" y="62"/>
                      </a:lnTo>
                      <a:lnTo>
                        <a:pt x="2" y="62"/>
                      </a:lnTo>
                      <a:lnTo>
                        <a:pt x="0" y="58"/>
                      </a:lnTo>
                      <a:lnTo>
                        <a:pt x="2" y="54"/>
                      </a:lnTo>
                      <a:lnTo>
                        <a:pt x="54" y="2"/>
                      </a:lnTo>
                      <a:lnTo>
                        <a:pt x="54" y="2"/>
                      </a:lnTo>
                      <a:lnTo>
                        <a:pt x="58" y="0"/>
                      </a:lnTo>
                      <a:lnTo>
                        <a:pt x="64" y="2"/>
                      </a:lnTo>
                      <a:lnTo>
                        <a:pt x="64" y="2"/>
                      </a:lnTo>
                      <a:lnTo>
                        <a:pt x="66" y="6"/>
                      </a:lnTo>
                      <a:lnTo>
                        <a:pt x="64" y="10"/>
                      </a:lnTo>
                      <a:lnTo>
                        <a:pt x="10" y="62"/>
                      </a:lnTo>
                      <a:lnTo>
                        <a:pt x="10" y="62"/>
                      </a:lnTo>
                      <a:lnTo>
                        <a:pt x="6" y="64"/>
                      </a:lnTo>
                      <a:lnTo>
                        <a:pt x="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80" name="Freeform 27"/>
                <p:cNvSpPr>
                  <a:spLocks/>
                </p:cNvSpPr>
                <p:nvPr/>
              </p:nvSpPr>
              <p:spPr bwMode="auto">
                <a:xfrm>
                  <a:off x="3101975" y="1751013"/>
                  <a:ext cx="101600" cy="101600"/>
                </a:xfrm>
                <a:custGeom>
                  <a:avLst/>
                  <a:gdLst>
                    <a:gd name="T0" fmla="*/ 58 w 64"/>
                    <a:gd name="T1" fmla="*/ 64 h 64"/>
                    <a:gd name="T2" fmla="*/ 58 w 64"/>
                    <a:gd name="T3" fmla="*/ 64 h 64"/>
                    <a:gd name="T4" fmla="*/ 52 w 64"/>
                    <a:gd name="T5" fmla="*/ 62 h 64"/>
                    <a:gd name="T6" fmla="*/ 50 w 64"/>
                    <a:gd name="T7" fmla="*/ 58 h 64"/>
                    <a:gd name="T8" fmla="*/ 50 w 64"/>
                    <a:gd name="T9" fmla="*/ 12 h 64"/>
                    <a:gd name="T10" fmla="*/ 6 w 64"/>
                    <a:gd name="T11" fmla="*/ 12 h 64"/>
                    <a:gd name="T12" fmla="*/ 6 w 64"/>
                    <a:gd name="T13" fmla="*/ 12 h 64"/>
                    <a:gd name="T14" fmla="*/ 6 w 64"/>
                    <a:gd name="T15" fmla="*/ 12 h 64"/>
                    <a:gd name="T16" fmla="*/ 2 w 64"/>
                    <a:gd name="T17" fmla="*/ 10 h 64"/>
                    <a:gd name="T18" fmla="*/ 0 w 64"/>
                    <a:gd name="T19" fmla="*/ 6 h 64"/>
                    <a:gd name="T20" fmla="*/ 0 w 64"/>
                    <a:gd name="T21" fmla="*/ 6 h 64"/>
                    <a:gd name="T22" fmla="*/ 2 w 64"/>
                    <a:gd name="T23" fmla="*/ 2 h 64"/>
                    <a:gd name="T24" fmla="*/ 6 w 64"/>
                    <a:gd name="T25" fmla="*/ 0 h 64"/>
                    <a:gd name="T26" fmla="*/ 64 w 64"/>
                    <a:gd name="T27" fmla="*/ 0 h 64"/>
                    <a:gd name="T28" fmla="*/ 64 w 64"/>
                    <a:gd name="T29" fmla="*/ 58 h 64"/>
                    <a:gd name="T30" fmla="*/ 64 w 64"/>
                    <a:gd name="T31" fmla="*/ 58 h 64"/>
                    <a:gd name="T32" fmla="*/ 62 w 64"/>
                    <a:gd name="T33" fmla="*/ 62 h 64"/>
                    <a:gd name="T34" fmla="*/ 58 w 64"/>
                    <a:gd name="T35" fmla="*/ 64 h 64"/>
                    <a:gd name="T36" fmla="*/ 58 w 64"/>
                    <a:gd name="T37" fmla="*/ 64 h 64"/>
                    <a:gd name="T38" fmla="*/ 58 w 64"/>
                    <a:gd name="T39" fmla="*/ 64 h 64"/>
                    <a:gd name="T40" fmla="*/ 58 w 64"/>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64">
                      <a:moveTo>
                        <a:pt x="58" y="64"/>
                      </a:moveTo>
                      <a:lnTo>
                        <a:pt x="58" y="64"/>
                      </a:lnTo>
                      <a:lnTo>
                        <a:pt x="52" y="62"/>
                      </a:lnTo>
                      <a:lnTo>
                        <a:pt x="50" y="58"/>
                      </a:lnTo>
                      <a:lnTo>
                        <a:pt x="50" y="12"/>
                      </a:lnTo>
                      <a:lnTo>
                        <a:pt x="6" y="12"/>
                      </a:lnTo>
                      <a:lnTo>
                        <a:pt x="6" y="12"/>
                      </a:lnTo>
                      <a:lnTo>
                        <a:pt x="6" y="12"/>
                      </a:lnTo>
                      <a:lnTo>
                        <a:pt x="2" y="10"/>
                      </a:lnTo>
                      <a:lnTo>
                        <a:pt x="0" y="6"/>
                      </a:lnTo>
                      <a:lnTo>
                        <a:pt x="0" y="6"/>
                      </a:lnTo>
                      <a:lnTo>
                        <a:pt x="2" y="2"/>
                      </a:lnTo>
                      <a:lnTo>
                        <a:pt x="6" y="0"/>
                      </a:lnTo>
                      <a:lnTo>
                        <a:pt x="64" y="0"/>
                      </a:lnTo>
                      <a:lnTo>
                        <a:pt x="64" y="58"/>
                      </a:lnTo>
                      <a:lnTo>
                        <a:pt x="64" y="58"/>
                      </a:lnTo>
                      <a:lnTo>
                        <a:pt x="62" y="62"/>
                      </a:lnTo>
                      <a:lnTo>
                        <a:pt x="58" y="64"/>
                      </a:lnTo>
                      <a:lnTo>
                        <a:pt x="58" y="64"/>
                      </a:lnTo>
                      <a:lnTo>
                        <a:pt x="58" y="64"/>
                      </a:lnTo>
                      <a:lnTo>
                        <a:pt x="58"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81" name="Freeform 28"/>
                <p:cNvSpPr>
                  <a:spLocks noEditPoints="1"/>
                </p:cNvSpPr>
                <p:nvPr/>
              </p:nvSpPr>
              <p:spPr bwMode="auto">
                <a:xfrm>
                  <a:off x="3095625" y="1871663"/>
                  <a:ext cx="88900" cy="95250"/>
                </a:xfrm>
                <a:custGeom>
                  <a:avLst/>
                  <a:gdLst>
                    <a:gd name="T0" fmla="*/ 28 w 56"/>
                    <a:gd name="T1" fmla="*/ 60 h 60"/>
                    <a:gd name="T2" fmla="*/ 28 w 56"/>
                    <a:gd name="T3" fmla="*/ 60 h 60"/>
                    <a:gd name="T4" fmla="*/ 22 w 56"/>
                    <a:gd name="T5" fmla="*/ 60 h 60"/>
                    <a:gd name="T6" fmla="*/ 16 w 56"/>
                    <a:gd name="T7" fmla="*/ 58 h 60"/>
                    <a:gd name="T8" fmla="*/ 8 w 56"/>
                    <a:gd name="T9" fmla="*/ 50 h 60"/>
                    <a:gd name="T10" fmla="*/ 2 w 56"/>
                    <a:gd name="T11" fmla="*/ 42 h 60"/>
                    <a:gd name="T12" fmla="*/ 0 w 56"/>
                    <a:gd name="T13" fmla="*/ 30 h 60"/>
                    <a:gd name="T14" fmla="*/ 0 w 56"/>
                    <a:gd name="T15" fmla="*/ 30 h 60"/>
                    <a:gd name="T16" fmla="*/ 2 w 56"/>
                    <a:gd name="T17" fmla="*/ 18 h 60"/>
                    <a:gd name="T18" fmla="*/ 8 w 56"/>
                    <a:gd name="T19" fmla="*/ 8 h 60"/>
                    <a:gd name="T20" fmla="*/ 16 w 56"/>
                    <a:gd name="T21" fmla="*/ 2 h 60"/>
                    <a:gd name="T22" fmla="*/ 22 w 56"/>
                    <a:gd name="T23" fmla="*/ 0 h 60"/>
                    <a:gd name="T24" fmla="*/ 28 w 56"/>
                    <a:gd name="T25" fmla="*/ 0 h 60"/>
                    <a:gd name="T26" fmla="*/ 28 w 56"/>
                    <a:gd name="T27" fmla="*/ 0 h 60"/>
                    <a:gd name="T28" fmla="*/ 34 w 56"/>
                    <a:gd name="T29" fmla="*/ 0 h 60"/>
                    <a:gd name="T30" fmla="*/ 38 w 56"/>
                    <a:gd name="T31" fmla="*/ 2 h 60"/>
                    <a:gd name="T32" fmla="*/ 48 w 56"/>
                    <a:gd name="T33" fmla="*/ 8 h 60"/>
                    <a:gd name="T34" fmla="*/ 54 w 56"/>
                    <a:gd name="T35" fmla="*/ 18 h 60"/>
                    <a:gd name="T36" fmla="*/ 56 w 56"/>
                    <a:gd name="T37" fmla="*/ 30 h 60"/>
                    <a:gd name="T38" fmla="*/ 56 w 56"/>
                    <a:gd name="T39" fmla="*/ 30 h 60"/>
                    <a:gd name="T40" fmla="*/ 54 w 56"/>
                    <a:gd name="T41" fmla="*/ 42 h 60"/>
                    <a:gd name="T42" fmla="*/ 48 w 56"/>
                    <a:gd name="T43" fmla="*/ 50 h 60"/>
                    <a:gd name="T44" fmla="*/ 38 w 56"/>
                    <a:gd name="T45" fmla="*/ 58 h 60"/>
                    <a:gd name="T46" fmla="*/ 34 w 56"/>
                    <a:gd name="T47" fmla="*/ 60 h 60"/>
                    <a:gd name="T48" fmla="*/ 28 w 56"/>
                    <a:gd name="T49" fmla="*/ 60 h 60"/>
                    <a:gd name="T50" fmla="*/ 28 w 56"/>
                    <a:gd name="T51" fmla="*/ 60 h 60"/>
                    <a:gd name="T52" fmla="*/ 28 w 56"/>
                    <a:gd name="T53" fmla="*/ 12 h 60"/>
                    <a:gd name="T54" fmla="*/ 28 w 56"/>
                    <a:gd name="T55" fmla="*/ 12 h 60"/>
                    <a:gd name="T56" fmla="*/ 22 w 56"/>
                    <a:gd name="T57" fmla="*/ 14 h 60"/>
                    <a:gd name="T58" fmla="*/ 16 w 56"/>
                    <a:gd name="T59" fmla="*/ 18 h 60"/>
                    <a:gd name="T60" fmla="*/ 14 w 56"/>
                    <a:gd name="T61" fmla="*/ 22 h 60"/>
                    <a:gd name="T62" fmla="*/ 12 w 56"/>
                    <a:gd name="T63" fmla="*/ 30 h 60"/>
                    <a:gd name="T64" fmla="*/ 12 w 56"/>
                    <a:gd name="T65" fmla="*/ 30 h 60"/>
                    <a:gd name="T66" fmla="*/ 14 w 56"/>
                    <a:gd name="T67" fmla="*/ 36 h 60"/>
                    <a:gd name="T68" fmla="*/ 16 w 56"/>
                    <a:gd name="T69" fmla="*/ 42 h 60"/>
                    <a:gd name="T70" fmla="*/ 22 w 56"/>
                    <a:gd name="T71" fmla="*/ 46 h 60"/>
                    <a:gd name="T72" fmla="*/ 28 w 56"/>
                    <a:gd name="T73" fmla="*/ 48 h 60"/>
                    <a:gd name="T74" fmla="*/ 28 w 56"/>
                    <a:gd name="T75" fmla="*/ 48 h 60"/>
                    <a:gd name="T76" fmla="*/ 34 w 56"/>
                    <a:gd name="T77" fmla="*/ 46 h 60"/>
                    <a:gd name="T78" fmla="*/ 38 w 56"/>
                    <a:gd name="T79" fmla="*/ 42 h 60"/>
                    <a:gd name="T80" fmla="*/ 42 w 56"/>
                    <a:gd name="T81" fmla="*/ 36 h 60"/>
                    <a:gd name="T82" fmla="*/ 42 w 56"/>
                    <a:gd name="T83" fmla="*/ 30 h 60"/>
                    <a:gd name="T84" fmla="*/ 42 w 56"/>
                    <a:gd name="T85" fmla="*/ 30 h 60"/>
                    <a:gd name="T86" fmla="*/ 42 w 56"/>
                    <a:gd name="T87" fmla="*/ 22 h 60"/>
                    <a:gd name="T88" fmla="*/ 38 w 56"/>
                    <a:gd name="T89" fmla="*/ 18 h 60"/>
                    <a:gd name="T90" fmla="*/ 34 w 56"/>
                    <a:gd name="T91" fmla="*/ 14 h 60"/>
                    <a:gd name="T92" fmla="*/ 28 w 56"/>
                    <a:gd name="T93" fmla="*/ 12 h 60"/>
                    <a:gd name="T94" fmla="*/ 28 w 56"/>
                    <a:gd name="T95"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60">
                      <a:moveTo>
                        <a:pt x="28" y="60"/>
                      </a:moveTo>
                      <a:lnTo>
                        <a:pt x="28" y="60"/>
                      </a:lnTo>
                      <a:lnTo>
                        <a:pt x="22" y="60"/>
                      </a:lnTo>
                      <a:lnTo>
                        <a:pt x="16" y="58"/>
                      </a:lnTo>
                      <a:lnTo>
                        <a:pt x="8" y="50"/>
                      </a:lnTo>
                      <a:lnTo>
                        <a:pt x="2" y="42"/>
                      </a:lnTo>
                      <a:lnTo>
                        <a:pt x="0" y="30"/>
                      </a:lnTo>
                      <a:lnTo>
                        <a:pt x="0" y="30"/>
                      </a:lnTo>
                      <a:lnTo>
                        <a:pt x="2" y="18"/>
                      </a:lnTo>
                      <a:lnTo>
                        <a:pt x="8" y="8"/>
                      </a:lnTo>
                      <a:lnTo>
                        <a:pt x="16" y="2"/>
                      </a:lnTo>
                      <a:lnTo>
                        <a:pt x="22" y="0"/>
                      </a:lnTo>
                      <a:lnTo>
                        <a:pt x="28" y="0"/>
                      </a:lnTo>
                      <a:lnTo>
                        <a:pt x="28" y="0"/>
                      </a:lnTo>
                      <a:lnTo>
                        <a:pt x="34" y="0"/>
                      </a:lnTo>
                      <a:lnTo>
                        <a:pt x="38" y="2"/>
                      </a:lnTo>
                      <a:lnTo>
                        <a:pt x="48" y="8"/>
                      </a:lnTo>
                      <a:lnTo>
                        <a:pt x="54" y="18"/>
                      </a:lnTo>
                      <a:lnTo>
                        <a:pt x="56" y="30"/>
                      </a:lnTo>
                      <a:lnTo>
                        <a:pt x="56" y="30"/>
                      </a:lnTo>
                      <a:lnTo>
                        <a:pt x="54" y="42"/>
                      </a:lnTo>
                      <a:lnTo>
                        <a:pt x="48" y="50"/>
                      </a:lnTo>
                      <a:lnTo>
                        <a:pt x="38" y="58"/>
                      </a:lnTo>
                      <a:lnTo>
                        <a:pt x="34" y="60"/>
                      </a:lnTo>
                      <a:lnTo>
                        <a:pt x="28" y="60"/>
                      </a:lnTo>
                      <a:lnTo>
                        <a:pt x="28" y="60"/>
                      </a:lnTo>
                      <a:close/>
                      <a:moveTo>
                        <a:pt x="28" y="12"/>
                      </a:moveTo>
                      <a:lnTo>
                        <a:pt x="28" y="12"/>
                      </a:lnTo>
                      <a:lnTo>
                        <a:pt x="22" y="14"/>
                      </a:lnTo>
                      <a:lnTo>
                        <a:pt x="16" y="18"/>
                      </a:lnTo>
                      <a:lnTo>
                        <a:pt x="14" y="22"/>
                      </a:lnTo>
                      <a:lnTo>
                        <a:pt x="12" y="30"/>
                      </a:lnTo>
                      <a:lnTo>
                        <a:pt x="12" y="30"/>
                      </a:lnTo>
                      <a:lnTo>
                        <a:pt x="14" y="36"/>
                      </a:lnTo>
                      <a:lnTo>
                        <a:pt x="16" y="42"/>
                      </a:lnTo>
                      <a:lnTo>
                        <a:pt x="22" y="46"/>
                      </a:lnTo>
                      <a:lnTo>
                        <a:pt x="28" y="48"/>
                      </a:lnTo>
                      <a:lnTo>
                        <a:pt x="28" y="48"/>
                      </a:lnTo>
                      <a:lnTo>
                        <a:pt x="34" y="46"/>
                      </a:lnTo>
                      <a:lnTo>
                        <a:pt x="38" y="42"/>
                      </a:lnTo>
                      <a:lnTo>
                        <a:pt x="42" y="36"/>
                      </a:lnTo>
                      <a:lnTo>
                        <a:pt x="42" y="30"/>
                      </a:lnTo>
                      <a:lnTo>
                        <a:pt x="42" y="30"/>
                      </a:lnTo>
                      <a:lnTo>
                        <a:pt x="42" y="22"/>
                      </a:lnTo>
                      <a:lnTo>
                        <a:pt x="38" y="18"/>
                      </a:lnTo>
                      <a:lnTo>
                        <a:pt x="34" y="14"/>
                      </a:lnTo>
                      <a:lnTo>
                        <a:pt x="28" y="12"/>
                      </a:lnTo>
                      <a:lnTo>
                        <a:pt x="28"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82" name="Freeform 29"/>
                <p:cNvSpPr>
                  <a:spLocks/>
                </p:cNvSpPr>
                <p:nvPr/>
              </p:nvSpPr>
              <p:spPr bwMode="auto">
                <a:xfrm>
                  <a:off x="3051175" y="1947863"/>
                  <a:ext cx="171450" cy="130175"/>
                </a:xfrm>
                <a:custGeom>
                  <a:avLst/>
                  <a:gdLst>
                    <a:gd name="T0" fmla="*/ 6 w 108"/>
                    <a:gd name="T1" fmla="*/ 82 h 82"/>
                    <a:gd name="T2" fmla="*/ 0 w 108"/>
                    <a:gd name="T3" fmla="*/ 76 h 82"/>
                    <a:gd name="T4" fmla="*/ 0 w 108"/>
                    <a:gd name="T5" fmla="*/ 68 h 82"/>
                    <a:gd name="T6" fmla="*/ 4 w 108"/>
                    <a:gd name="T7" fmla="*/ 42 h 82"/>
                    <a:gd name="T8" fmla="*/ 12 w 108"/>
                    <a:gd name="T9" fmla="*/ 20 h 82"/>
                    <a:gd name="T10" fmla="*/ 20 w 108"/>
                    <a:gd name="T11" fmla="*/ 12 h 82"/>
                    <a:gd name="T12" fmla="*/ 34 w 108"/>
                    <a:gd name="T13" fmla="*/ 2 h 82"/>
                    <a:gd name="T14" fmla="*/ 52 w 108"/>
                    <a:gd name="T15" fmla="*/ 0 h 82"/>
                    <a:gd name="T16" fmla="*/ 56 w 108"/>
                    <a:gd name="T17" fmla="*/ 0 h 82"/>
                    <a:gd name="T18" fmla="*/ 72 w 108"/>
                    <a:gd name="T19" fmla="*/ 2 h 82"/>
                    <a:gd name="T20" fmla="*/ 86 w 108"/>
                    <a:gd name="T21" fmla="*/ 12 h 82"/>
                    <a:gd name="T22" fmla="*/ 94 w 108"/>
                    <a:gd name="T23" fmla="*/ 20 h 82"/>
                    <a:gd name="T24" fmla="*/ 102 w 108"/>
                    <a:gd name="T25" fmla="*/ 42 h 82"/>
                    <a:gd name="T26" fmla="*/ 106 w 108"/>
                    <a:gd name="T27" fmla="*/ 68 h 82"/>
                    <a:gd name="T28" fmla="*/ 108 w 108"/>
                    <a:gd name="T29" fmla="*/ 76 h 82"/>
                    <a:gd name="T30" fmla="*/ 100 w 108"/>
                    <a:gd name="T31" fmla="*/ 82 h 82"/>
                    <a:gd name="T32" fmla="*/ 96 w 108"/>
                    <a:gd name="T33" fmla="*/ 80 h 82"/>
                    <a:gd name="T34" fmla="*/ 94 w 108"/>
                    <a:gd name="T35" fmla="*/ 76 h 82"/>
                    <a:gd name="T36" fmla="*/ 92 w 108"/>
                    <a:gd name="T37" fmla="*/ 54 h 82"/>
                    <a:gd name="T38" fmla="*/ 84 w 108"/>
                    <a:gd name="T39" fmla="*/ 28 h 82"/>
                    <a:gd name="T40" fmla="*/ 78 w 108"/>
                    <a:gd name="T41" fmla="*/ 20 h 82"/>
                    <a:gd name="T42" fmla="*/ 68 w 108"/>
                    <a:gd name="T43" fmla="*/ 14 h 82"/>
                    <a:gd name="T44" fmla="*/ 56 w 108"/>
                    <a:gd name="T45" fmla="*/ 12 h 82"/>
                    <a:gd name="T46" fmla="*/ 52 w 108"/>
                    <a:gd name="T47" fmla="*/ 12 h 82"/>
                    <a:gd name="T48" fmla="*/ 40 w 108"/>
                    <a:gd name="T49" fmla="*/ 14 h 82"/>
                    <a:gd name="T50" fmla="*/ 28 w 108"/>
                    <a:gd name="T51" fmla="*/ 20 h 82"/>
                    <a:gd name="T52" fmla="*/ 24 w 108"/>
                    <a:gd name="T53" fmla="*/ 28 h 82"/>
                    <a:gd name="T54" fmla="*/ 14 w 108"/>
                    <a:gd name="T55" fmla="*/ 56 h 82"/>
                    <a:gd name="T56" fmla="*/ 12 w 108"/>
                    <a:gd name="T57" fmla="*/ 76 h 82"/>
                    <a:gd name="T58" fmla="*/ 10 w 108"/>
                    <a:gd name="T59" fmla="*/ 80 h 82"/>
                    <a:gd name="T60" fmla="*/ 6 w 108"/>
                    <a:gd name="T61" fmla="*/ 82 h 82"/>
                    <a:gd name="T62" fmla="*/ 6 w 108"/>
                    <a:gd name="T6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82">
                      <a:moveTo>
                        <a:pt x="6" y="82"/>
                      </a:moveTo>
                      <a:lnTo>
                        <a:pt x="6" y="82"/>
                      </a:lnTo>
                      <a:lnTo>
                        <a:pt x="2" y="80"/>
                      </a:lnTo>
                      <a:lnTo>
                        <a:pt x="0" y="76"/>
                      </a:lnTo>
                      <a:lnTo>
                        <a:pt x="0" y="76"/>
                      </a:lnTo>
                      <a:lnTo>
                        <a:pt x="0" y="68"/>
                      </a:lnTo>
                      <a:lnTo>
                        <a:pt x="2" y="52"/>
                      </a:lnTo>
                      <a:lnTo>
                        <a:pt x="4" y="42"/>
                      </a:lnTo>
                      <a:lnTo>
                        <a:pt x="8" y="30"/>
                      </a:lnTo>
                      <a:lnTo>
                        <a:pt x="12" y="20"/>
                      </a:lnTo>
                      <a:lnTo>
                        <a:pt x="20" y="12"/>
                      </a:lnTo>
                      <a:lnTo>
                        <a:pt x="20" y="12"/>
                      </a:lnTo>
                      <a:lnTo>
                        <a:pt x="26" y="6"/>
                      </a:lnTo>
                      <a:lnTo>
                        <a:pt x="34" y="2"/>
                      </a:lnTo>
                      <a:lnTo>
                        <a:pt x="42" y="0"/>
                      </a:lnTo>
                      <a:lnTo>
                        <a:pt x="52" y="0"/>
                      </a:lnTo>
                      <a:lnTo>
                        <a:pt x="56" y="0"/>
                      </a:lnTo>
                      <a:lnTo>
                        <a:pt x="56" y="0"/>
                      </a:lnTo>
                      <a:lnTo>
                        <a:pt x="64" y="0"/>
                      </a:lnTo>
                      <a:lnTo>
                        <a:pt x="72" y="2"/>
                      </a:lnTo>
                      <a:lnTo>
                        <a:pt x="80" y="6"/>
                      </a:lnTo>
                      <a:lnTo>
                        <a:pt x="86" y="12"/>
                      </a:lnTo>
                      <a:lnTo>
                        <a:pt x="86" y="12"/>
                      </a:lnTo>
                      <a:lnTo>
                        <a:pt x="94" y="20"/>
                      </a:lnTo>
                      <a:lnTo>
                        <a:pt x="98" y="30"/>
                      </a:lnTo>
                      <a:lnTo>
                        <a:pt x="102" y="42"/>
                      </a:lnTo>
                      <a:lnTo>
                        <a:pt x="104" y="52"/>
                      </a:lnTo>
                      <a:lnTo>
                        <a:pt x="106" y="68"/>
                      </a:lnTo>
                      <a:lnTo>
                        <a:pt x="108" y="76"/>
                      </a:lnTo>
                      <a:lnTo>
                        <a:pt x="108" y="76"/>
                      </a:lnTo>
                      <a:lnTo>
                        <a:pt x="106" y="80"/>
                      </a:lnTo>
                      <a:lnTo>
                        <a:pt x="100" y="82"/>
                      </a:lnTo>
                      <a:lnTo>
                        <a:pt x="100" y="82"/>
                      </a:lnTo>
                      <a:lnTo>
                        <a:pt x="96" y="80"/>
                      </a:lnTo>
                      <a:lnTo>
                        <a:pt x="94" y="76"/>
                      </a:lnTo>
                      <a:lnTo>
                        <a:pt x="94" y="76"/>
                      </a:lnTo>
                      <a:lnTo>
                        <a:pt x="94" y="70"/>
                      </a:lnTo>
                      <a:lnTo>
                        <a:pt x="92" y="54"/>
                      </a:lnTo>
                      <a:lnTo>
                        <a:pt x="88" y="36"/>
                      </a:lnTo>
                      <a:lnTo>
                        <a:pt x="84" y="28"/>
                      </a:lnTo>
                      <a:lnTo>
                        <a:pt x="78" y="20"/>
                      </a:lnTo>
                      <a:lnTo>
                        <a:pt x="78" y="20"/>
                      </a:lnTo>
                      <a:lnTo>
                        <a:pt x="72" y="16"/>
                      </a:lnTo>
                      <a:lnTo>
                        <a:pt x="68" y="14"/>
                      </a:lnTo>
                      <a:lnTo>
                        <a:pt x="62" y="12"/>
                      </a:lnTo>
                      <a:lnTo>
                        <a:pt x="56" y="12"/>
                      </a:lnTo>
                      <a:lnTo>
                        <a:pt x="52" y="12"/>
                      </a:lnTo>
                      <a:lnTo>
                        <a:pt x="52" y="12"/>
                      </a:lnTo>
                      <a:lnTo>
                        <a:pt x="44" y="12"/>
                      </a:lnTo>
                      <a:lnTo>
                        <a:pt x="40" y="14"/>
                      </a:lnTo>
                      <a:lnTo>
                        <a:pt x="34" y="16"/>
                      </a:lnTo>
                      <a:lnTo>
                        <a:pt x="28" y="20"/>
                      </a:lnTo>
                      <a:lnTo>
                        <a:pt x="28" y="20"/>
                      </a:lnTo>
                      <a:lnTo>
                        <a:pt x="24" y="28"/>
                      </a:lnTo>
                      <a:lnTo>
                        <a:pt x="18" y="38"/>
                      </a:lnTo>
                      <a:lnTo>
                        <a:pt x="14" y="56"/>
                      </a:lnTo>
                      <a:lnTo>
                        <a:pt x="12" y="70"/>
                      </a:lnTo>
                      <a:lnTo>
                        <a:pt x="12" y="76"/>
                      </a:lnTo>
                      <a:lnTo>
                        <a:pt x="12" y="76"/>
                      </a:lnTo>
                      <a:lnTo>
                        <a:pt x="10" y="80"/>
                      </a:lnTo>
                      <a:lnTo>
                        <a:pt x="6" y="82"/>
                      </a:lnTo>
                      <a:lnTo>
                        <a:pt x="6" y="82"/>
                      </a:lnTo>
                      <a:lnTo>
                        <a:pt x="6" y="82"/>
                      </a:lnTo>
                      <a:lnTo>
                        <a:pt x="6"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grpSp>
          <p:grpSp>
            <p:nvGrpSpPr>
              <p:cNvPr id="61" name="Group 292"/>
              <p:cNvGrpSpPr/>
              <p:nvPr/>
            </p:nvGrpSpPr>
            <p:grpSpPr>
              <a:xfrm>
                <a:off x="2492375" y="1751806"/>
                <a:ext cx="311150" cy="320675"/>
                <a:chOff x="2492375" y="1751806"/>
                <a:chExt cx="311150" cy="320675"/>
              </a:xfrm>
            </p:grpSpPr>
            <p:sp>
              <p:nvSpPr>
                <p:cNvPr id="70" name="Freeform 31"/>
                <p:cNvSpPr>
                  <a:spLocks noEditPoints="1"/>
                </p:cNvSpPr>
                <p:nvPr/>
              </p:nvSpPr>
              <p:spPr bwMode="auto">
                <a:xfrm>
                  <a:off x="2492375" y="1751806"/>
                  <a:ext cx="130175" cy="130175"/>
                </a:xfrm>
                <a:custGeom>
                  <a:avLst/>
                  <a:gdLst>
                    <a:gd name="T0" fmla="*/ 66 w 82"/>
                    <a:gd name="T1" fmla="*/ 82 h 82"/>
                    <a:gd name="T2" fmla="*/ 14 w 82"/>
                    <a:gd name="T3" fmla="*/ 82 h 82"/>
                    <a:gd name="T4" fmla="*/ 14 w 82"/>
                    <a:gd name="T5" fmla="*/ 82 h 82"/>
                    <a:gd name="T6" fmla="*/ 8 w 82"/>
                    <a:gd name="T7" fmla="*/ 80 h 82"/>
                    <a:gd name="T8" fmla="*/ 4 w 82"/>
                    <a:gd name="T9" fmla="*/ 76 h 82"/>
                    <a:gd name="T10" fmla="*/ 0 w 82"/>
                    <a:gd name="T11" fmla="*/ 72 h 82"/>
                    <a:gd name="T12" fmla="*/ 0 w 82"/>
                    <a:gd name="T13" fmla="*/ 66 h 82"/>
                    <a:gd name="T14" fmla="*/ 0 w 82"/>
                    <a:gd name="T15" fmla="*/ 14 h 82"/>
                    <a:gd name="T16" fmla="*/ 0 w 82"/>
                    <a:gd name="T17" fmla="*/ 14 h 82"/>
                    <a:gd name="T18" fmla="*/ 0 w 82"/>
                    <a:gd name="T19" fmla="*/ 8 h 82"/>
                    <a:gd name="T20" fmla="*/ 4 w 82"/>
                    <a:gd name="T21" fmla="*/ 4 h 82"/>
                    <a:gd name="T22" fmla="*/ 8 w 82"/>
                    <a:gd name="T23" fmla="*/ 0 h 82"/>
                    <a:gd name="T24" fmla="*/ 14 w 82"/>
                    <a:gd name="T25" fmla="*/ 0 h 82"/>
                    <a:gd name="T26" fmla="*/ 66 w 82"/>
                    <a:gd name="T27" fmla="*/ 0 h 82"/>
                    <a:gd name="T28" fmla="*/ 66 w 82"/>
                    <a:gd name="T29" fmla="*/ 0 h 82"/>
                    <a:gd name="T30" fmla="*/ 72 w 82"/>
                    <a:gd name="T31" fmla="*/ 0 h 82"/>
                    <a:gd name="T32" fmla="*/ 76 w 82"/>
                    <a:gd name="T33" fmla="*/ 4 h 82"/>
                    <a:gd name="T34" fmla="*/ 80 w 82"/>
                    <a:gd name="T35" fmla="*/ 8 h 82"/>
                    <a:gd name="T36" fmla="*/ 82 w 82"/>
                    <a:gd name="T37" fmla="*/ 14 h 82"/>
                    <a:gd name="T38" fmla="*/ 82 w 82"/>
                    <a:gd name="T39" fmla="*/ 66 h 82"/>
                    <a:gd name="T40" fmla="*/ 82 w 82"/>
                    <a:gd name="T41" fmla="*/ 66 h 82"/>
                    <a:gd name="T42" fmla="*/ 80 w 82"/>
                    <a:gd name="T43" fmla="*/ 72 h 82"/>
                    <a:gd name="T44" fmla="*/ 76 w 82"/>
                    <a:gd name="T45" fmla="*/ 76 h 82"/>
                    <a:gd name="T46" fmla="*/ 72 w 82"/>
                    <a:gd name="T47" fmla="*/ 80 h 82"/>
                    <a:gd name="T48" fmla="*/ 66 w 82"/>
                    <a:gd name="T49" fmla="*/ 82 h 82"/>
                    <a:gd name="T50" fmla="*/ 66 w 82"/>
                    <a:gd name="T51" fmla="*/ 82 h 82"/>
                    <a:gd name="T52" fmla="*/ 14 w 82"/>
                    <a:gd name="T53" fmla="*/ 12 h 82"/>
                    <a:gd name="T54" fmla="*/ 14 w 82"/>
                    <a:gd name="T55" fmla="*/ 12 h 82"/>
                    <a:gd name="T56" fmla="*/ 12 w 82"/>
                    <a:gd name="T57" fmla="*/ 12 h 82"/>
                    <a:gd name="T58" fmla="*/ 12 w 82"/>
                    <a:gd name="T59" fmla="*/ 14 h 82"/>
                    <a:gd name="T60" fmla="*/ 12 w 82"/>
                    <a:gd name="T61" fmla="*/ 66 h 82"/>
                    <a:gd name="T62" fmla="*/ 12 w 82"/>
                    <a:gd name="T63" fmla="*/ 66 h 82"/>
                    <a:gd name="T64" fmla="*/ 12 w 82"/>
                    <a:gd name="T65" fmla="*/ 68 h 82"/>
                    <a:gd name="T66" fmla="*/ 14 w 82"/>
                    <a:gd name="T67" fmla="*/ 68 h 82"/>
                    <a:gd name="T68" fmla="*/ 66 w 82"/>
                    <a:gd name="T69" fmla="*/ 68 h 82"/>
                    <a:gd name="T70" fmla="*/ 66 w 82"/>
                    <a:gd name="T71" fmla="*/ 68 h 82"/>
                    <a:gd name="T72" fmla="*/ 68 w 82"/>
                    <a:gd name="T73" fmla="*/ 68 h 82"/>
                    <a:gd name="T74" fmla="*/ 68 w 82"/>
                    <a:gd name="T75" fmla="*/ 66 h 82"/>
                    <a:gd name="T76" fmla="*/ 68 w 82"/>
                    <a:gd name="T77" fmla="*/ 14 h 82"/>
                    <a:gd name="T78" fmla="*/ 68 w 82"/>
                    <a:gd name="T79" fmla="*/ 14 h 82"/>
                    <a:gd name="T80" fmla="*/ 68 w 82"/>
                    <a:gd name="T81" fmla="*/ 12 h 82"/>
                    <a:gd name="T82" fmla="*/ 66 w 82"/>
                    <a:gd name="T83" fmla="*/ 12 h 82"/>
                    <a:gd name="T84" fmla="*/ 14 w 82"/>
                    <a:gd name="T85" fmla="*/ 1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82">
                      <a:moveTo>
                        <a:pt x="66" y="82"/>
                      </a:moveTo>
                      <a:lnTo>
                        <a:pt x="14" y="82"/>
                      </a:lnTo>
                      <a:lnTo>
                        <a:pt x="14" y="82"/>
                      </a:lnTo>
                      <a:lnTo>
                        <a:pt x="8" y="80"/>
                      </a:lnTo>
                      <a:lnTo>
                        <a:pt x="4" y="76"/>
                      </a:lnTo>
                      <a:lnTo>
                        <a:pt x="0" y="72"/>
                      </a:lnTo>
                      <a:lnTo>
                        <a:pt x="0" y="66"/>
                      </a:lnTo>
                      <a:lnTo>
                        <a:pt x="0" y="14"/>
                      </a:lnTo>
                      <a:lnTo>
                        <a:pt x="0" y="14"/>
                      </a:lnTo>
                      <a:lnTo>
                        <a:pt x="0" y="8"/>
                      </a:lnTo>
                      <a:lnTo>
                        <a:pt x="4" y="4"/>
                      </a:lnTo>
                      <a:lnTo>
                        <a:pt x="8" y="0"/>
                      </a:lnTo>
                      <a:lnTo>
                        <a:pt x="14" y="0"/>
                      </a:lnTo>
                      <a:lnTo>
                        <a:pt x="66" y="0"/>
                      </a:lnTo>
                      <a:lnTo>
                        <a:pt x="66" y="0"/>
                      </a:lnTo>
                      <a:lnTo>
                        <a:pt x="72" y="0"/>
                      </a:lnTo>
                      <a:lnTo>
                        <a:pt x="76" y="4"/>
                      </a:lnTo>
                      <a:lnTo>
                        <a:pt x="80" y="8"/>
                      </a:lnTo>
                      <a:lnTo>
                        <a:pt x="82" y="14"/>
                      </a:lnTo>
                      <a:lnTo>
                        <a:pt x="82" y="66"/>
                      </a:lnTo>
                      <a:lnTo>
                        <a:pt x="82" y="66"/>
                      </a:lnTo>
                      <a:lnTo>
                        <a:pt x="80" y="72"/>
                      </a:lnTo>
                      <a:lnTo>
                        <a:pt x="76" y="76"/>
                      </a:lnTo>
                      <a:lnTo>
                        <a:pt x="72" y="80"/>
                      </a:lnTo>
                      <a:lnTo>
                        <a:pt x="66" y="82"/>
                      </a:lnTo>
                      <a:lnTo>
                        <a:pt x="66" y="82"/>
                      </a:lnTo>
                      <a:close/>
                      <a:moveTo>
                        <a:pt x="14" y="12"/>
                      </a:moveTo>
                      <a:lnTo>
                        <a:pt x="14" y="12"/>
                      </a:lnTo>
                      <a:lnTo>
                        <a:pt x="12" y="12"/>
                      </a:lnTo>
                      <a:lnTo>
                        <a:pt x="12" y="14"/>
                      </a:lnTo>
                      <a:lnTo>
                        <a:pt x="12" y="66"/>
                      </a:lnTo>
                      <a:lnTo>
                        <a:pt x="12" y="66"/>
                      </a:lnTo>
                      <a:lnTo>
                        <a:pt x="12" y="68"/>
                      </a:lnTo>
                      <a:lnTo>
                        <a:pt x="14" y="68"/>
                      </a:lnTo>
                      <a:lnTo>
                        <a:pt x="66" y="68"/>
                      </a:lnTo>
                      <a:lnTo>
                        <a:pt x="66" y="68"/>
                      </a:lnTo>
                      <a:lnTo>
                        <a:pt x="68" y="68"/>
                      </a:lnTo>
                      <a:lnTo>
                        <a:pt x="68" y="66"/>
                      </a:lnTo>
                      <a:lnTo>
                        <a:pt x="68" y="14"/>
                      </a:lnTo>
                      <a:lnTo>
                        <a:pt x="68" y="14"/>
                      </a:lnTo>
                      <a:lnTo>
                        <a:pt x="68" y="12"/>
                      </a:lnTo>
                      <a:lnTo>
                        <a:pt x="66" y="12"/>
                      </a:lnTo>
                      <a:lnTo>
                        <a:pt x="14"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71" name="Freeform 32"/>
                <p:cNvSpPr>
                  <a:spLocks noEditPoints="1"/>
                </p:cNvSpPr>
                <p:nvPr/>
              </p:nvSpPr>
              <p:spPr bwMode="auto">
                <a:xfrm>
                  <a:off x="2673350" y="1751806"/>
                  <a:ext cx="130175" cy="130175"/>
                </a:xfrm>
                <a:custGeom>
                  <a:avLst/>
                  <a:gdLst>
                    <a:gd name="T0" fmla="*/ 68 w 82"/>
                    <a:gd name="T1" fmla="*/ 82 h 82"/>
                    <a:gd name="T2" fmla="*/ 16 w 82"/>
                    <a:gd name="T3" fmla="*/ 82 h 82"/>
                    <a:gd name="T4" fmla="*/ 16 w 82"/>
                    <a:gd name="T5" fmla="*/ 82 h 82"/>
                    <a:gd name="T6" fmla="*/ 10 w 82"/>
                    <a:gd name="T7" fmla="*/ 80 h 82"/>
                    <a:gd name="T8" fmla="*/ 4 w 82"/>
                    <a:gd name="T9" fmla="*/ 76 h 82"/>
                    <a:gd name="T10" fmla="*/ 2 w 82"/>
                    <a:gd name="T11" fmla="*/ 72 h 82"/>
                    <a:gd name="T12" fmla="*/ 0 w 82"/>
                    <a:gd name="T13" fmla="*/ 66 h 82"/>
                    <a:gd name="T14" fmla="*/ 0 w 82"/>
                    <a:gd name="T15" fmla="*/ 14 h 82"/>
                    <a:gd name="T16" fmla="*/ 0 w 82"/>
                    <a:gd name="T17" fmla="*/ 14 h 82"/>
                    <a:gd name="T18" fmla="*/ 2 w 82"/>
                    <a:gd name="T19" fmla="*/ 8 h 82"/>
                    <a:gd name="T20" fmla="*/ 4 w 82"/>
                    <a:gd name="T21" fmla="*/ 4 h 82"/>
                    <a:gd name="T22" fmla="*/ 10 w 82"/>
                    <a:gd name="T23" fmla="*/ 0 h 82"/>
                    <a:gd name="T24" fmla="*/ 16 w 82"/>
                    <a:gd name="T25" fmla="*/ 0 h 82"/>
                    <a:gd name="T26" fmla="*/ 68 w 82"/>
                    <a:gd name="T27" fmla="*/ 0 h 82"/>
                    <a:gd name="T28" fmla="*/ 68 w 82"/>
                    <a:gd name="T29" fmla="*/ 0 h 82"/>
                    <a:gd name="T30" fmla="*/ 72 w 82"/>
                    <a:gd name="T31" fmla="*/ 0 h 82"/>
                    <a:gd name="T32" fmla="*/ 78 w 82"/>
                    <a:gd name="T33" fmla="*/ 4 h 82"/>
                    <a:gd name="T34" fmla="*/ 82 w 82"/>
                    <a:gd name="T35" fmla="*/ 8 h 82"/>
                    <a:gd name="T36" fmla="*/ 82 w 82"/>
                    <a:gd name="T37" fmla="*/ 14 h 82"/>
                    <a:gd name="T38" fmla="*/ 82 w 82"/>
                    <a:gd name="T39" fmla="*/ 66 h 82"/>
                    <a:gd name="T40" fmla="*/ 82 w 82"/>
                    <a:gd name="T41" fmla="*/ 66 h 82"/>
                    <a:gd name="T42" fmla="*/ 82 w 82"/>
                    <a:gd name="T43" fmla="*/ 72 h 82"/>
                    <a:gd name="T44" fmla="*/ 78 w 82"/>
                    <a:gd name="T45" fmla="*/ 76 h 82"/>
                    <a:gd name="T46" fmla="*/ 72 w 82"/>
                    <a:gd name="T47" fmla="*/ 80 h 82"/>
                    <a:gd name="T48" fmla="*/ 68 w 82"/>
                    <a:gd name="T49" fmla="*/ 82 h 82"/>
                    <a:gd name="T50" fmla="*/ 68 w 82"/>
                    <a:gd name="T51" fmla="*/ 82 h 82"/>
                    <a:gd name="T52" fmla="*/ 16 w 82"/>
                    <a:gd name="T53" fmla="*/ 12 h 82"/>
                    <a:gd name="T54" fmla="*/ 16 w 82"/>
                    <a:gd name="T55" fmla="*/ 12 h 82"/>
                    <a:gd name="T56" fmla="*/ 14 w 82"/>
                    <a:gd name="T57" fmla="*/ 12 h 82"/>
                    <a:gd name="T58" fmla="*/ 12 w 82"/>
                    <a:gd name="T59" fmla="*/ 14 h 82"/>
                    <a:gd name="T60" fmla="*/ 12 w 82"/>
                    <a:gd name="T61" fmla="*/ 66 h 82"/>
                    <a:gd name="T62" fmla="*/ 12 w 82"/>
                    <a:gd name="T63" fmla="*/ 66 h 82"/>
                    <a:gd name="T64" fmla="*/ 14 w 82"/>
                    <a:gd name="T65" fmla="*/ 68 h 82"/>
                    <a:gd name="T66" fmla="*/ 16 w 82"/>
                    <a:gd name="T67" fmla="*/ 68 h 82"/>
                    <a:gd name="T68" fmla="*/ 68 w 82"/>
                    <a:gd name="T69" fmla="*/ 68 h 82"/>
                    <a:gd name="T70" fmla="*/ 68 w 82"/>
                    <a:gd name="T71" fmla="*/ 68 h 82"/>
                    <a:gd name="T72" fmla="*/ 68 w 82"/>
                    <a:gd name="T73" fmla="*/ 68 h 82"/>
                    <a:gd name="T74" fmla="*/ 70 w 82"/>
                    <a:gd name="T75" fmla="*/ 66 h 82"/>
                    <a:gd name="T76" fmla="*/ 70 w 82"/>
                    <a:gd name="T77" fmla="*/ 14 h 82"/>
                    <a:gd name="T78" fmla="*/ 70 w 82"/>
                    <a:gd name="T79" fmla="*/ 14 h 82"/>
                    <a:gd name="T80" fmla="*/ 68 w 82"/>
                    <a:gd name="T81" fmla="*/ 12 h 82"/>
                    <a:gd name="T82" fmla="*/ 68 w 82"/>
                    <a:gd name="T83" fmla="*/ 12 h 82"/>
                    <a:gd name="T84" fmla="*/ 16 w 82"/>
                    <a:gd name="T85" fmla="*/ 1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 h="82">
                      <a:moveTo>
                        <a:pt x="68" y="82"/>
                      </a:moveTo>
                      <a:lnTo>
                        <a:pt x="16" y="82"/>
                      </a:lnTo>
                      <a:lnTo>
                        <a:pt x="16" y="82"/>
                      </a:lnTo>
                      <a:lnTo>
                        <a:pt x="10" y="80"/>
                      </a:lnTo>
                      <a:lnTo>
                        <a:pt x="4" y="76"/>
                      </a:lnTo>
                      <a:lnTo>
                        <a:pt x="2" y="72"/>
                      </a:lnTo>
                      <a:lnTo>
                        <a:pt x="0" y="66"/>
                      </a:lnTo>
                      <a:lnTo>
                        <a:pt x="0" y="14"/>
                      </a:lnTo>
                      <a:lnTo>
                        <a:pt x="0" y="14"/>
                      </a:lnTo>
                      <a:lnTo>
                        <a:pt x="2" y="8"/>
                      </a:lnTo>
                      <a:lnTo>
                        <a:pt x="4" y="4"/>
                      </a:lnTo>
                      <a:lnTo>
                        <a:pt x="10" y="0"/>
                      </a:lnTo>
                      <a:lnTo>
                        <a:pt x="16" y="0"/>
                      </a:lnTo>
                      <a:lnTo>
                        <a:pt x="68" y="0"/>
                      </a:lnTo>
                      <a:lnTo>
                        <a:pt x="68" y="0"/>
                      </a:lnTo>
                      <a:lnTo>
                        <a:pt x="72" y="0"/>
                      </a:lnTo>
                      <a:lnTo>
                        <a:pt x="78" y="4"/>
                      </a:lnTo>
                      <a:lnTo>
                        <a:pt x="82" y="8"/>
                      </a:lnTo>
                      <a:lnTo>
                        <a:pt x="82" y="14"/>
                      </a:lnTo>
                      <a:lnTo>
                        <a:pt x="82" y="66"/>
                      </a:lnTo>
                      <a:lnTo>
                        <a:pt x="82" y="66"/>
                      </a:lnTo>
                      <a:lnTo>
                        <a:pt x="82" y="72"/>
                      </a:lnTo>
                      <a:lnTo>
                        <a:pt x="78" y="76"/>
                      </a:lnTo>
                      <a:lnTo>
                        <a:pt x="72" y="80"/>
                      </a:lnTo>
                      <a:lnTo>
                        <a:pt x="68" y="82"/>
                      </a:lnTo>
                      <a:lnTo>
                        <a:pt x="68" y="82"/>
                      </a:lnTo>
                      <a:close/>
                      <a:moveTo>
                        <a:pt x="16" y="12"/>
                      </a:moveTo>
                      <a:lnTo>
                        <a:pt x="16" y="12"/>
                      </a:lnTo>
                      <a:lnTo>
                        <a:pt x="14" y="12"/>
                      </a:lnTo>
                      <a:lnTo>
                        <a:pt x="12" y="14"/>
                      </a:lnTo>
                      <a:lnTo>
                        <a:pt x="12" y="66"/>
                      </a:lnTo>
                      <a:lnTo>
                        <a:pt x="12" y="66"/>
                      </a:lnTo>
                      <a:lnTo>
                        <a:pt x="14" y="68"/>
                      </a:lnTo>
                      <a:lnTo>
                        <a:pt x="16" y="68"/>
                      </a:lnTo>
                      <a:lnTo>
                        <a:pt x="68" y="68"/>
                      </a:lnTo>
                      <a:lnTo>
                        <a:pt x="68" y="68"/>
                      </a:lnTo>
                      <a:lnTo>
                        <a:pt x="68" y="68"/>
                      </a:lnTo>
                      <a:lnTo>
                        <a:pt x="70" y="66"/>
                      </a:lnTo>
                      <a:lnTo>
                        <a:pt x="70" y="14"/>
                      </a:lnTo>
                      <a:lnTo>
                        <a:pt x="70" y="14"/>
                      </a:lnTo>
                      <a:lnTo>
                        <a:pt x="68" y="12"/>
                      </a:lnTo>
                      <a:lnTo>
                        <a:pt x="68" y="12"/>
                      </a:lnTo>
                      <a:lnTo>
                        <a:pt x="16"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72" name="Freeform 33"/>
                <p:cNvSpPr>
                  <a:spLocks/>
                </p:cNvSpPr>
                <p:nvPr/>
              </p:nvSpPr>
              <p:spPr bwMode="auto">
                <a:xfrm>
                  <a:off x="2581275" y="1942306"/>
                  <a:ext cx="130175" cy="130175"/>
                </a:xfrm>
                <a:custGeom>
                  <a:avLst/>
                  <a:gdLst>
                    <a:gd name="T0" fmla="*/ 58 w 82"/>
                    <a:gd name="T1" fmla="*/ 82 h 82"/>
                    <a:gd name="T2" fmla="*/ 16 w 82"/>
                    <a:gd name="T3" fmla="*/ 82 h 82"/>
                    <a:gd name="T4" fmla="*/ 16 w 82"/>
                    <a:gd name="T5" fmla="*/ 82 h 82"/>
                    <a:gd name="T6" fmla="*/ 10 w 82"/>
                    <a:gd name="T7" fmla="*/ 80 h 82"/>
                    <a:gd name="T8" fmla="*/ 6 w 82"/>
                    <a:gd name="T9" fmla="*/ 76 h 82"/>
                    <a:gd name="T10" fmla="*/ 2 w 82"/>
                    <a:gd name="T11" fmla="*/ 72 h 82"/>
                    <a:gd name="T12" fmla="*/ 0 w 82"/>
                    <a:gd name="T13" fmla="*/ 66 h 82"/>
                    <a:gd name="T14" fmla="*/ 0 w 82"/>
                    <a:gd name="T15" fmla="*/ 14 h 82"/>
                    <a:gd name="T16" fmla="*/ 0 w 82"/>
                    <a:gd name="T17" fmla="*/ 14 h 82"/>
                    <a:gd name="T18" fmla="*/ 2 w 82"/>
                    <a:gd name="T19" fmla="*/ 8 h 82"/>
                    <a:gd name="T20" fmla="*/ 6 w 82"/>
                    <a:gd name="T21" fmla="*/ 4 h 82"/>
                    <a:gd name="T22" fmla="*/ 10 w 82"/>
                    <a:gd name="T23" fmla="*/ 0 h 82"/>
                    <a:gd name="T24" fmla="*/ 16 w 82"/>
                    <a:gd name="T25" fmla="*/ 0 h 82"/>
                    <a:gd name="T26" fmla="*/ 68 w 82"/>
                    <a:gd name="T27" fmla="*/ 0 h 82"/>
                    <a:gd name="T28" fmla="*/ 68 w 82"/>
                    <a:gd name="T29" fmla="*/ 0 h 82"/>
                    <a:gd name="T30" fmla="*/ 74 w 82"/>
                    <a:gd name="T31" fmla="*/ 0 h 82"/>
                    <a:gd name="T32" fmla="*/ 78 w 82"/>
                    <a:gd name="T33" fmla="*/ 4 h 82"/>
                    <a:gd name="T34" fmla="*/ 82 w 82"/>
                    <a:gd name="T35" fmla="*/ 8 h 82"/>
                    <a:gd name="T36" fmla="*/ 82 w 82"/>
                    <a:gd name="T37" fmla="*/ 14 h 82"/>
                    <a:gd name="T38" fmla="*/ 82 w 82"/>
                    <a:gd name="T39" fmla="*/ 58 h 82"/>
                    <a:gd name="T40" fmla="*/ 82 w 82"/>
                    <a:gd name="T41" fmla="*/ 58 h 82"/>
                    <a:gd name="T42" fmla="*/ 80 w 82"/>
                    <a:gd name="T43" fmla="*/ 62 h 82"/>
                    <a:gd name="T44" fmla="*/ 76 w 82"/>
                    <a:gd name="T45" fmla="*/ 64 h 82"/>
                    <a:gd name="T46" fmla="*/ 76 w 82"/>
                    <a:gd name="T47" fmla="*/ 64 h 82"/>
                    <a:gd name="T48" fmla="*/ 72 w 82"/>
                    <a:gd name="T49" fmla="*/ 62 h 82"/>
                    <a:gd name="T50" fmla="*/ 70 w 82"/>
                    <a:gd name="T51" fmla="*/ 58 h 82"/>
                    <a:gd name="T52" fmla="*/ 70 w 82"/>
                    <a:gd name="T53" fmla="*/ 14 h 82"/>
                    <a:gd name="T54" fmla="*/ 70 w 82"/>
                    <a:gd name="T55" fmla="*/ 14 h 82"/>
                    <a:gd name="T56" fmla="*/ 70 w 82"/>
                    <a:gd name="T57" fmla="*/ 12 h 82"/>
                    <a:gd name="T58" fmla="*/ 68 w 82"/>
                    <a:gd name="T59" fmla="*/ 12 h 82"/>
                    <a:gd name="T60" fmla="*/ 16 w 82"/>
                    <a:gd name="T61" fmla="*/ 12 h 82"/>
                    <a:gd name="T62" fmla="*/ 16 w 82"/>
                    <a:gd name="T63" fmla="*/ 12 h 82"/>
                    <a:gd name="T64" fmla="*/ 14 w 82"/>
                    <a:gd name="T65" fmla="*/ 12 h 82"/>
                    <a:gd name="T66" fmla="*/ 14 w 82"/>
                    <a:gd name="T67" fmla="*/ 14 h 82"/>
                    <a:gd name="T68" fmla="*/ 14 w 82"/>
                    <a:gd name="T69" fmla="*/ 66 h 82"/>
                    <a:gd name="T70" fmla="*/ 14 w 82"/>
                    <a:gd name="T71" fmla="*/ 66 h 82"/>
                    <a:gd name="T72" fmla="*/ 14 w 82"/>
                    <a:gd name="T73" fmla="*/ 68 h 82"/>
                    <a:gd name="T74" fmla="*/ 16 w 82"/>
                    <a:gd name="T75" fmla="*/ 68 h 82"/>
                    <a:gd name="T76" fmla="*/ 58 w 82"/>
                    <a:gd name="T77" fmla="*/ 68 h 82"/>
                    <a:gd name="T78" fmla="*/ 58 w 82"/>
                    <a:gd name="T79" fmla="*/ 68 h 82"/>
                    <a:gd name="T80" fmla="*/ 64 w 82"/>
                    <a:gd name="T81" fmla="*/ 70 h 82"/>
                    <a:gd name="T82" fmla="*/ 66 w 82"/>
                    <a:gd name="T83" fmla="*/ 76 h 82"/>
                    <a:gd name="T84" fmla="*/ 66 w 82"/>
                    <a:gd name="T85" fmla="*/ 76 h 82"/>
                    <a:gd name="T86" fmla="*/ 64 w 82"/>
                    <a:gd name="T87" fmla="*/ 80 h 82"/>
                    <a:gd name="T88" fmla="*/ 58 w 82"/>
                    <a:gd name="T89" fmla="*/ 82 h 82"/>
                    <a:gd name="T90" fmla="*/ 58 w 82"/>
                    <a:gd name="T91"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82">
                      <a:moveTo>
                        <a:pt x="58" y="82"/>
                      </a:moveTo>
                      <a:lnTo>
                        <a:pt x="16" y="82"/>
                      </a:lnTo>
                      <a:lnTo>
                        <a:pt x="16" y="82"/>
                      </a:lnTo>
                      <a:lnTo>
                        <a:pt x="10" y="80"/>
                      </a:lnTo>
                      <a:lnTo>
                        <a:pt x="6" y="76"/>
                      </a:lnTo>
                      <a:lnTo>
                        <a:pt x="2" y="72"/>
                      </a:lnTo>
                      <a:lnTo>
                        <a:pt x="0" y="66"/>
                      </a:lnTo>
                      <a:lnTo>
                        <a:pt x="0" y="14"/>
                      </a:lnTo>
                      <a:lnTo>
                        <a:pt x="0" y="14"/>
                      </a:lnTo>
                      <a:lnTo>
                        <a:pt x="2" y="8"/>
                      </a:lnTo>
                      <a:lnTo>
                        <a:pt x="6" y="4"/>
                      </a:lnTo>
                      <a:lnTo>
                        <a:pt x="10" y="0"/>
                      </a:lnTo>
                      <a:lnTo>
                        <a:pt x="16" y="0"/>
                      </a:lnTo>
                      <a:lnTo>
                        <a:pt x="68" y="0"/>
                      </a:lnTo>
                      <a:lnTo>
                        <a:pt x="68" y="0"/>
                      </a:lnTo>
                      <a:lnTo>
                        <a:pt x="74" y="0"/>
                      </a:lnTo>
                      <a:lnTo>
                        <a:pt x="78" y="4"/>
                      </a:lnTo>
                      <a:lnTo>
                        <a:pt x="82" y="8"/>
                      </a:lnTo>
                      <a:lnTo>
                        <a:pt x="82" y="14"/>
                      </a:lnTo>
                      <a:lnTo>
                        <a:pt x="82" y="58"/>
                      </a:lnTo>
                      <a:lnTo>
                        <a:pt x="82" y="58"/>
                      </a:lnTo>
                      <a:lnTo>
                        <a:pt x="80" y="62"/>
                      </a:lnTo>
                      <a:lnTo>
                        <a:pt x="76" y="64"/>
                      </a:lnTo>
                      <a:lnTo>
                        <a:pt x="76" y="64"/>
                      </a:lnTo>
                      <a:lnTo>
                        <a:pt x="72" y="62"/>
                      </a:lnTo>
                      <a:lnTo>
                        <a:pt x="70" y="58"/>
                      </a:lnTo>
                      <a:lnTo>
                        <a:pt x="70" y="14"/>
                      </a:lnTo>
                      <a:lnTo>
                        <a:pt x="70" y="14"/>
                      </a:lnTo>
                      <a:lnTo>
                        <a:pt x="70" y="12"/>
                      </a:lnTo>
                      <a:lnTo>
                        <a:pt x="68" y="12"/>
                      </a:lnTo>
                      <a:lnTo>
                        <a:pt x="16" y="12"/>
                      </a:lnTo>
                      <a:lnTo>
                        <a:pt x="16" y="12"/>
                      </a:lnTo>
                      <a:lnTo>
                        <a:pt x="14" y="12"/>
                      </a:lnTo>
                      <a:lnTo>
                        <a:pt x="14" y="14"/>
                      </a:lnTo>
                      <a:lnTo>
                        <a:pt x="14" y="66"/>
                      </a:lnTo>
                      <a:lnTo>
                        <a:pt x="14" y="66"/>
                      </a:lnTo>
                      <a:lnTo>
                        <a:pt x="14" y="68"/>
                      </a:lnTo>
                      <a:lnTo>
                        <a:pt x="16" y="68"/>
                      </a:lnTo>
                      <a:lnTo>
                        <a:pt x="58" y="68"/>
                      </a:lnTo>
                      <a:lnTo>
                        <a:pt x="58" y="68"/>
                      </a:lnTo>
                      <a:lnTo>
                        <a:pt x="64" y="70"/>
                      </a:lnTo>
                      <a:lnTo>
                        <a:pt x="66" y="76"/>
                      </a:lnTo>
                      <a:lnTo>
                        <a:pt x="66" y="76"/>
                      </a:lnTo>
                      <a:lnTo>
                        <a:pt x="64" y="80"/>
                      </a:lnTo>
                      <a:lnTo>
                        <a:pt x="58" y="82"/>
                      </a:lnTo>
                      <a:lnTo>
                        <a:pt x="58"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73" name="Freeform 34"/>
                <p:cNvSpPr>
                  <a:spLocks/>
                </p:cNvSpPr>
                <p:nvPr/>
              </p:nvSpPr>
              <p:spPr bwMode="auto">
                <a:xfrm>
                  <a:off x="2543175" y="1862931"/>
                  <a:ext cx="209550" cy="57150"/>
                </a:xfrm>
                <a:custGeom>
                  <a:avLst/>
                  <a:gdLst>
                    <a:gd name="T0" fmla="*/ 116 w 132"/>
                    <a:gd name="T1" fmla="*/ 36 h 36"/>
                    <a:gd name="T2" fmla="*/ 16 w 132"/>
                    <a:gd name="T3" fmla="*/ 36 h 36"/>
                    <a:gd name="T4" fmla="*/ 16 w 132"/>
                    <a:gd name="T5" fmla="*/ 36 h 36"/>
                    <a:gd name="T6" fmla="*/ 10 w 132"/>
                    <a:gd name="T7" fmla="*/ 36 h 36"/>
                    <a:gd name="T8" fmla="*/ 4 w 132"/>
                    <a:gd name="T9" fmla="*/ 32 h 36"/>
                    <a:gd name="T10" fmla="*/ 2 w 132"/>
                    <a:gd name="T11" fmla="*/ 28 h 36"/>
                    <a:gd name="T12" fmla="*/ 0 w 132"/>
                    <a:gd name="T13" fmla="*/ 22 h 36"/>
                    <a:gd name="T14" fmla="*/ 0 w 132"/>
                    <a:gd name="T15" fmla="*/ 6 h 36"/>
                    <a:gd name="T16" fmla="*/ 0 w 132"/>
                    <a:gd name="T17" fmla="*/ 6 h 36"/>
                    <a:gd name="T18" fmla="*/ 2 w 132"/>
                    <a:gd name="T19" fmla="*/ 2 h 36"/>
                    <a:gd name="T20" fmla="*/ 6 w 132"/>
                    <a:gd name="T21" fmla="*/ 0 h 36"/>
                    <a:gd name="T22" fmla="*/ 6 w 132"/>
                    <a:gd name="T23" fmla="*/ 0 h 36"/>
                    <a:gd name="T24" fmla="*/ 12 w 132"/>
                    <a:gd name="T25" fmla="*/ 2 h 36"/>
                    <a:gd name="T26" fmla="*/ 12 w 132"/>
                    <a:gd name="T27" fmla="*/ 6 h 36"/>
                    <a:gd name="T28" fmla="*/ 12 w 132"/>
                    <a:gd name="T29" fmla="*/ 22 h 36"/>
                    <a:gd name="T30" fmla="*/ 12 w 132"/>
                    <a:gd name="T31" fmla="*/ 22 h 36"/>
                    <a:gd name="T32" fmla="*/ 14 w 132"/>
                    <a:gd name="T33" fmla="*/ 24 h 36"/>
                    <a:gd name="T34" fmla="*/ 16 w 132"/>
                    <a:gd name="T35" fmla="*/ 24 h 36"/>
                    <a:gd name="T36" fmla="*/ 116 w 132"/>
                    <a:gd name="T37" fmla="*/ 24 h 36"/>
                    <a:gd name="T38" fmla="*/ 116 w 132"/>
                    <a:gd name="T39" fmla="*/ 24 h 36"/>
                    <a:gd name="T40" fmla="*/ 118 w 132"/>
                    <a:gd name="T41" fmla="*/ 24 h 36"/>
                    <a:gd name="T42" fmla="*/ 118 w 132"/>
                    <a:gd name="T43" fmla="*/ 22 h 36"/>
                    <a:gd name="T44" fmla="*/ 118 w 132"/>
                    <a:gd name="T45" fmla="*/ 6 h 36"/>
                    <a:gd name="T46" fmla="*/ 118 w 132"/>
                    <a:gd name="T47" fmla="*/ 6 h 36"/>
                    <a:gd name="T48" fmla="*/ 120 w 132"/>
                    <a:gd name="T49" fmla="*/ 2 h 36"/>
                    <a:gd name="T50" fmla="*/ 126 w 132"/>
                    <a:gd name="T51" fmla="*/ 0 h 36"/>
                    <a:gd name="T52" fmla="*/ 126 w 132"/>
                    <a:gd name="T53" fmla="*/ 0 h 36"/>
                    <a:gd name="T54" fmla="*/ 130 w 132"/>
                    <a:gd name="T55" fmla="*/ 2 h 36"/>
                    <a:gd name="T56" fmla="*/ 132 w 132"/>
                    <a:gd name="T57" fmla="*/ 6 h 36"/>
                    <a:gd name="T58" fmla="*/ 132 w 132"/>
                    <a:gd name="T59" fmla="*/ 22 h 36"/>
                    <a:gd name="T60" fmla="*/ 132 w 132"/>
                    <a:gd name="T61" fmla="*/ 22 h 36"/>
                    <a:gd name="T62" fmla="*/ 130 w 132"/>
                    <a:gd name="T63" fmla="*/ 28 h 36"/>
                    <a:gd name="T64" fmla="*/ 126 w 132"/>
                    <a:gd name="T65" fmla="*/ 32 h 36"/>
                    <a:gd name="T66" fmla="*/ 122 w 132"/>
                    <a:gd name="T67" fmla="*/ 36 h 36"/>
                    <a:gd name="T68" fmla="*/ 116 w 132"/>
                    <a:gd name="T69" fmla="*/ 36 h 36"/>
                    <a:gd name="T70" fmla="*/ 116 w 132"/>
                    <a:gd name="T7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2" h="36">
                      <a:moveTo>
                        <a:pt x="116" y="36"/>
                      </a:moveTo>
                      <a:lnTo>
                        <a:pt x="16" y="36"/>
                      </a:lnTo>
                      <a:lnTo>
                        <a:pt x="16" y="36"/>
                      </a:lnTo>
                      <a:lnTo>
                        <a:pt x="10" y="36"/>
                      </a:lnTo>
                      <a:lnTo>
                        <a:pt x="4" y="32"/>
                      </a:lnTo>
                      <a:lnTo>
                        <a:pt x="2" y="28"/>
                      </a:lnTo>
                      <a:lnTo>
                        <a:pt x="0" y="22"/>
                      </a:lnTo>
                      <a:lnTo>
                        <a:pt x="0" y="6"/>
                      </a:lnTo>
                      <a:lnTo>
                        <a:pt x="0" y="6"/>
                      </a:lnTo>
                      <a:lnTo>
                        <a:pt x="2" y="2"/>
                      </a:lnTo>
                      <a:lnTo>
                        <a:pt x="6" y="0"/>
                      </a:lnTo>
                      <a:lnTo>
                        <a:pt x="6" y="0"/>
                      </a:lnTo>
                      <a:lnTo>
                        <a:pt x="12" y="2"/>
                      </a:lnTo>
                      <a:lnTo>
                        <a:pt x="12" y="6"/>
                      </a:lnTo>
                      <a:lnTo>
                        <a:pt x="12" y="22"/>
                      </a:lnTo>
                      <a:lnTo>
                        <a:pt x="12" y="22"/>
                      </a:lnTo>
                      <a:lnTo>
                        <a:pt x="14" y="24"/>
                      </a:lnTo>
                      <a:lnTo>
                        <a:pt x="16" y="24"/>
                      </a:lnTo>
                      <a:lnTo>
                        <a:pt x="116" y="24"/>
                      </a:lnTo>
                      <a:lnTo>
                        <a:pt x="116" y="24"/>
                      </a:lnTo>
                      <a:lnTo>
                        <a:pt x="118" y="24"/>
                      </a:lnTo>
                      <a:lnTo>
                        <a:pt x="118" y="22"/>
                      </a:lnTo>
                      <a:lnTo>
                        <a:pt x="118" y="6"/>
                      </a:lnTo>
                      <a:lnTo>
                        <a:pt x="118" y="6"/>
                      </a:lnTo>
                      <a:lnTo>
                        <a:pt x="120" y="2"/>
                      </a:lnTo>
                      <a:lnTo>
                        <a:pt x="126" y="0"/>
                      </a:lnTo>
                      <a:lnTo>
                        <a:pt x="126" y="0"/>
                      </a:lnTo>
                      <a:lnTo>
                        <a:pt x="130" y="2"/>
                      </a:lnTo>
                      <a:lnTo>
                        <a:pt x="132" y="6"/>
                      </a:lnTo>
                      <a:lnTo>
                        <a:pt x="132" y="22"/>
                      </a:lnTo>
                      <a:lnTo>
                        <a:pt x="132" y="22"/>
                      </a:lnTo>
                      <a:lnTo>
                        <a:pt x="130" y="28"/>
                      </a:lnTo>
                      <a:lnTo>
                        <a:pt x="126" y="32"/>
                      </a:lnTo>
                      <a:lnTo>
                        <a:pt x="122" y="36"/>
                      </a:lnTo>
                      <a:lnTo>
                        <a:pt x="116" y="36"/>
                      </a:lnTo>
                      <a:lnTo>
                        <a:pt x="116"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74" name="Freeform 35"/>
                <p:cNvSpPr>
                  <a:spLocks/>
                </p:cNvSpPr>
                <p:nvPr/>
              </p:nvSpPr>
              <p:spPr bwMode="auto">
                <a:xfrm>
                  <a:off x="2638425" y="1901031"/>
                  <a:ext cx="19050" cy="57150"/>
                </a:xfrm>
                <a:custGeom>
                  <a:avLst/>
                  <a:gdLst>
                    <a:gd name="T0" fmla="*/ 6 w 12"/>
                    <a:gd name="T1" fmla="*/ 36 h 36"/>
                    <a:gd name="T2" fmla="*/ 6 w 12"/>
                    <a:gd name="T3" fmla="*/ 36 h 36"/>
                    <a:gd name="T4" fmla="*/ 2 w 12"/>
                    <a:gd name="T5" fmla="*/ 36 h 36"/>
                    <a:gd name="T6" fmla="*/ 0 w 12"/>
                    <a:gd name="T7" fmla="*/ 30 h 36"/>
                    <a:gd name="T8" fmla="*/ 0 w 12"/>
                    <a:gd name="T9" fmla="*/ 8 h 36"/>
                    <a:gd name="T10" fmla="*/ 0 w 12"/>
                    <a:gd name="T11" fmla="*/ 8 h 36"/>
                    <a:gd name="T12" fmla="*/ 2 w 12"/>
                    <a:gd name="T13" fmla="*/ 2 h 36"/>
                    <a:gd name="T14" fmla="*/ 6 w 12"/>
                    <a:gd name="T15" fmla="*/ 0 h 36"/>
                    <a:gd name="T16" fmla="*/ 6 w 12"/>
                    <a:gd name="T17" fmla="*/ 0 h 36"/>
                    <a:gd name="T18" fmla="*/ 10 w 12"/>
                    <a:gd name="T19" fmla="*/ 2 h 36"/>
                    <a:gd name="T20" fmla="*/ 12 w 12"/>
                    <a:gd name="T21" fmla="*/ 8 h 36"/>
                    <a:gd name="T22" fmla="*/ 12 w 12"/>
                    <a:gd name="T23" fmla="*/ 30 h 36"/>
                    <a:gd name="T24" fmla="*/ 12 w 12"/>
                    <a:gd name="T25" fmla="*/ 30 h 36"/>
                    <a:gd name="T26" fmla="*/ 10 w 12"/>
                    <a:gd name="T27" fmla="*/ 36 h 36"/>
                    <a:gd name="T28" fmla="*/ 6 w 12"/>
                    <a:gd name="T29" fmla="*/ 36 h 36"/>
                    <a:gd name="T30" fmla="*/ 6 w 12"/>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36">
                      <a:moveTo>
                        <a:pt x="6" y="36"/>
                      </a:moveTo>
                      <a:lnTo>
                        <a:pt x="6" y="36"/>
                      </a:lnTo>
                      <a:lnTo>
                        <a:pt x="2" y="36"/>
                      </a:lnTo>
                      <a:lnTo>
                        <a:pt x="0" y="30"/>
                      </a:lnTo>
                      <a:lnTo>
                        <a:pt x="0" y="8"/>
                      </a:lnTo>
                      <a:lnTo>
                        <a:pt x="0" y="8"/>
                      </a:lnTo>
                      <a:lnTo>
                        <a:pt x="2" y="2"/>
                      </a:lnTo>
                      <a:lnTo>
                        <a:pt x="6" y="0"/>
                      </a:lnTo>
                      <a:lnTo>
                        <a:pt x="6" y="0"/>
                      </a:lnTo>
                      <a:lnTo>
                        <a:pt x="10" y="2"/>
                      </a:lnTo>
                      <a:lnTo>
                        <a:pt x="12" y="8"/>
                      </a:lnTo>
                      <a:lnTo>
                        <a:pt x="12" y="30"/>
                      </a:lnTo>
                      <a:lnTo>
                        <a:pt x="12" y="30"/>
                      </a:lnTo>
                      <a:lnTo>
                        <a:pt x="10" y="36"/>
                      </a:lnTo>
                      <a:lnTo>
                        <a:pt x="6" y="36"/>
                      </a:lnTo>
                      <a:lnTo>
                        <a:pt x="6"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grpSp>
          <p:grpSp>
            <p:nvGrpSpPr>
              <p:cNvPr id="62" name="Group 293"/>
              <p:cNvGrpSpPr/>
              <p:nvPr/>
            </p:nvGrpSpPr>
            <p:grpSpPr>
              <a:xfrm>
                <a:off x="3042444" y="2310606"/>
                <a:ext cx="355600" cy="349250"/>
                <a:chOff x="3042444" y="2310606"/>
                <a:chExt cx="355600" cy="349250"/>
              </a:xfrm>
            </p:grpSpPr>
            <p:sp>
              <p:nvSpPr>
                <p:cNvPr id="63" name="Freeform 37"/>
                <p:cNvSpPr>
                  <a:spLocks noEditPoints="1"/>
                </p:cNvSpPr>
                <p:nvPr/>
              </p:nvSpPr>
              <p:spPr bwMode="auto">
                <a:xfrm>
                  <a:off x="3175794" y="2485231"/>
                  <a:ext cx="82550" cy="82550"/>
                </a:xfrm>
                <a:custGeom>
                  <a:avLst/>
                  <a:gdLst>
                    <a:gd name="T0" fmla="*/ 26 w 52"/>
                    <a:gd name="T1" fmla="*/ 52 h 52"/>
                    <a:gd name="T2" fmla="*/ 26 w 52"/>
                    <a:gd name="T3" fmla="*/ 52 h 52"/>
                    <a:gd name="T4" fmla="*/ 16 w 52"/>
                    <a:gd name="T5" fmla="*/ 50 h 52"/>
                    <a:gd name="T6" fmla="*/ 8 w 52"/>
                    <a:gd name="T7" fmla="*/ 44 h 52"/>
                    <a:gd name="T8" fmla="*/ 2 w 52"/>
                    <a:gd name="T9" fmla="*/ 36 h 52"/>
                    <a:gd name="T10" fmla="*/ 0 w 52"/>
                    <a:gd name="T11" fmla="*/ 26 h 52"/>
                    <a:gd name="T12" fmla="*/ 0 w 52"/>
                    <a:gd name="T13" fmla="*/ 26 h 52"/>
                    <a:gd name="T14" fmla="*/ 2 w 52"/>
                    <a:gd name="T15" fmla="*/ 16 h 52"/>
                    <a:gd name="T16" fmla="*/ 8 w 52"/>
                    <a:gd name="T17" fmla="*/ 8 h 52"/>
                    <a:gd name="T18" fmla="*/ 16 w 52"/>
                    <a:gd name="T19" fmla="*/ 2 h 52"/>
                    <a:gd name="T20" fmla="*/ 26 w 52"/>
                    <a:gd name="T21" fmla="*/ 0 h 52"/>
                    <a:gd name="T22" fmla="*/ 26 w 52"/>
                    <a:gd name="T23" fmla="*/ 0 h 52"/>
                    <a:gd name="T24" fmla="*/ 36 w 52"/>
                    <a:gd name="T25" fmla="*/ 2 h 52"/>
                    <a:gd name="T26" fmla="*/ 44 w 52"/>
                    <a:gd name="T27" fmla="*/ 8 h 52"/>
                    <a:gd name="T28" fmla="*/ 50 w 52"/>
                    <a:gd name="T29" fmla="*/ 16 h 52"/>
                    <a:gd name="T30" fmla="*/ 52 w 52"/>
                    <a:gd name="T31" fmla="*/ 26 h 52"/>
                    <a:gd name="T32" fmla="*/ 52 w 52"/>
                    <a:gd name="T33" fmla="*/ 26 h 52"/>
                    <a:gd name="T34" fmla="*/ 50 w 52"/>
                    <a:gd name="T35" fmla="*/ 36 h 52"/>
                    <a:gd name="T36" fmla="*/ 44 w 52"/>
                    <a:gd name="T37" fmla="*/ 44 h 52"/>
                    <a:gd name="T38" fmla="*/ 36 w 52"/>
                    <a:gd name="T39" fmla="*/ 50 h 52"/>
                    <a:gd name="T40" fmla="*/ 26 w 52"/>
                    <a:gd name="T41" fmla="*/ 52 h 52"/>
                    <a:gd name="T42" fmla="*/ 26 w 52"/>
                    <a:gd name="T43" fmla="*/ 52 h 52"/>
                    <a:gd name="T44" fmla="*/ 26 w 52"/>
                    <a:gd name="T45" fmla="*/ 14 h 52"/>
                    <a:gd name="T46" fmla="*/ 26 w 52"/>
                    <a:gd name="T47" fmla="*/ 14 h 52"/>
                    <a:gd name="T48" fmla="*/ 22 w 52"/>
                    <a:gd name="T49" fmla="*/ 14 h 52"/>
                    <a:gd name="T50" fmla="*/ 16 w 52"/>
                    <a:gd name="T51" fmla="*/ 18 h 52"/>
                    <a:gd name="T52" fmla="*/ 14 w 52"/>
                    <a:gd name="T53" fmla="*/ 22 h 52"/>
                    <a:gd name="T54" fmla="*/ 14 w 52"/>
                    <a:gd name="T55" fmla="*/ 26 h 52"/>
                    <a:gd name="T56" fmla="*/ 14 w 52"/>
                    <a:gd name="T57" fmla="*/ 26 h 52"/>
                    <a:gd name="T58" fmla="*/ 14 w 52"/>
                    <a:gd name="T59" fmla="*/ 32 h 52"/>
                    <a:gd name="T60" fmla="*/ 16 w 52"/>
                    <a:gd name="T61" fmla="*/ 36 h 52"/>
                    <a:gd name="T62" fmla="*/ 22 w 52"/>
                    <a:gd name="T63" fmla="*/ 38 h 52"/>
                    <a:gd name="T64" fmla="*/ 26 w 52"/>
                    <a:gd name="T65" fmla="*/ 40 h 52"/>
                    <a:gd name="T66" fmla="*/ 26 w 52"/>
                    <a:gd name="T67" fmla="*/ 40 h 52"/>
                    <a:gd name="T68" fmla="*/ 32 w 52"/>
                    <a:gd name="T69" fmla="*/ 38 h 52"/>
                    <a:gd name="T70" fmla="*/ 36 w 52"/>
                    <a:gd name="T71" fmla="*/ 36 h 52"/>
                    <a:gd name="T72" fmla="*/ 38 w 52"/>
                    <a:gd name="T73" fmla="*/ 32 h 52"/>
                    <a:gd name="T74" fmla="*/ 40 w 52"/>
                    <a:gd name="T75" fmla="*/ 26 h 52"/>
                    <a:gd name="T76" fmla="*/ 40 w 52"/>
                    <a:gd name="T77" fmla="*/ 26 h 52"/>
                    <a:gd name="T78" fmla="*/ 38 w 52"/>
                    <a:gd name="T79" fmla="*/ 22 h 52"/>
                    <a:gd name="T80" fmla="*/ 36 w 52"/>
                    <a:gd name="T81" fmla="*/ 18 h 52"/>
                    <a:gd name="T82" fmla="*/ 32 w 52"/>
                    <a:gd name="T83" fmla="*/ 14 h 52"/>
                    <a:gd name="T84" fmla="*/ 26 w 52"/>
                    <a:gd name="T85" fmla="*/ 14 h 52"/>
                    <a:gd name="T86" fmla="*/ 26 w 52"/>
                    <a:gd name="T87" fmla="*/ 1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52">
                      <a:moveTo>
                        <a:pt x="26" y="52"/>
                      </a:moveTo>
                      <a:lnTo>
                        <a:pt x="26" y="52"/>
                      </a:lnTo>
                      <a:lnTo>
                        <a:pt x="16" y="50"/>
                      </a:lnTo>
                      <a:lnTo>
                        <a:pt x="8" y="44"/>
                      </a:lnTo>
                      <a:lnTo>
                        <a:pt x="2" y="36"/>
                      </a:lnTo>
                      <a:lnTo>
                        <a:pt x="0" y="26"/>
                      </a:lnTo>
                      <a:lnTo>
                        <a:pt x="0" y="26"/>
                      </a:lnTo>
                      <a:lnTo>
                        <a:pt x="2" y="16"/>
                      </a:lnTo>
                      <a:lnTo>
                        <a:pt x="8" y="8"/>
                      </a:lnTo>
                      <a:lnTo>
                        <a:pt x="16" y="2"/>
                      </a:lnTo>
                      <a:lnTo>
                        <a:pt x="26" y="0"/>
                      </a:lnTo>
                      <a:lnTo>
                        <a:pt x="26" y="0"/>
                      </a:lnTo>
                      <a:lnTo>
                        <a:pt x="36" y="2"/>
                      </a:lnTo>
                      <a:lnTo>
                        <a:pt x="44" y="8"/>
                      </a:lnTo>
                      <a:lnTo>
                        <a:pt x="50" y="16"/>
                      </a:lnTo>
                      <a:lnTo>
                        <a:pt x="52" y="26"/>
                      </a:lnTo>
                      <a:lnTo>
                        <a:pt x="52" y="26"/>
                      </a:lnTo>
                      <a:lnTo>
                        <a:pt x="50" y="36"/>
                      </a:lnTo>
                      <a:lnTo>
                        <a:pt x="44" y="44"/>
                      </a:lnTo>
                      <a:lnTo>
                        <a:pt x="36" y="50"/>
                      </a:lnTo>
                      <a:lnTo>
                        <a:pt x="26" y="52"/>
                      </a:lnTo>
                      <a:lnTo>
                        <a:pt x="26" y="52"/>
                      </a:lnTo>
                      <a:close/>
                      <a:moveTo>
                        <a:pt x="26" y="14"/>
                      </a:moveTo>
                      <a:lnTo>
                        <a:pt x="26" y="14"/>
                      </a:lnTo>
                      <a:lnTo>
                        <a:pt x="22" y="14"/>
                      </a:lnTo>
                      <a:lnTo>
                        <a:pt x="16" y="18"/>
                      </a:lnTo>
                      <a:lnTo>
                        <a:pt x="14" y="22"/>
                      </a:lnTo>
                      <a:lnTo>
                        <a:pt x="14" y="26"/>
                      </a:lnTo>
                      <a:lnTo>
                        <a:pt x="14" y="26"/>
                      </a:lnTo>
                      <a:lnTo>
                        <a:pt x="14" y="32"/>
                      </a:lnTo>
                      <a:lnTo>
                        <a:pt x="16" y="36"/>
                      </a:lnTo>
                      <a:lnTo>
                        <a:pt x="22" y="38"/>
                      </a:lnTo>
                      <a:lnTo>
                        <a:pt x="26" y="40"/>
                      </a:lnTo>
                      <a:lnTo>
                        <a:pt x="26" y="40"/>
                      </a:lnTo>
                      <a:lnTo>
                        <a:pt x="32" y="38"/>
                      </a:lnTo>
                      <a:lnTo>
                        <a:pt x="36" y="36"/>
                      </a:lnTo>
                      <a:lnTo>
                        <a:pt x="38" y="32"/>
                      </a:lnTo>
                      <a:lnTo>
                        <a:pt x="40" y="26"/>
                      </a:lnTo>
                      <a:lnTo>
                        <a:pt x="40" y="26"/>
                      </a:lnTo>
                      <a:lnTo>
                        <a:pt x="38" y="22"/>
                      </a:lnTo>
                      <a:lnTo>
                        <a:pt x="36" y="18"/>
                      </a:lnTo>
                      <a:lnTo>
                        <a:pt x="32" y="14"/>
                      </a:lnTo>
                      <a:lnTo>
                        <a:pt x="26" y="14"/>
                      </a:lnTo>
                      <a:lnTo>
                        <a:pt x="2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64" name="Freeform 38"/>
                <p:cNvSpPr>
                  <a:spLocks noEditPoints="1"/>
                </p:cNvSpPr>
                <p:nvPr/>
              </p:nvSpPr>
              <p:spPr bwMode="auto">
                <a:xfrm>
                  <a:off x="3067844" y="2310606"/>
                  <a:ext cx="79375" cy="82550"/>
                </a:xfrm>
                <a:custGeom>
                  <a:avLst/>
                  <a:gdLst>
                    <a:gd name="T0" fmla="*/ 26 w 50"/>
                    <a:gd name="T1" fmla="*/ 52 h 52"/>
                    <a:gd name="T2" fmla="*/ 26 w 50"/>
                    <a:gd name="T3" fmla="*/ 52 h 52"/>
                    <a:gd name="T4" fmla="*/ 14 w 50"/>
                    <a:gd name="T5" fmla="*/ 50 h 52"/>
                    <a:gd name="T6" fmla="*/ 6 w 50"/>
                    <a:gd name="T7" fmla="*/ 44 h 52"/>
                    <a:gd name="T8" fmla="*/ 2 w 50"/>
                    <a:gd name="T9" fmla="*/ 36 h 52"/>
                    <a:gd name="T10" fmla="*/ 0 w 50"/>
                    <a:gd name="T11" fmla="*/ 26 h 52"/>
                    <a:gd name="T12" fmla="*/ 0 w 50"/>
                    <a:gd name="T13" fmla="*/ 26 h 52"/>
                    <a:gd name="T14" fmla="*/ 2 w 50"/>
                    <a:gd name="T15" fmla="*/ 16 h 52"/>
                    <a:gd name="T16" fmla="*/ 6 w 50"/>
                    <a:gd name="T17" fmla="*/ 8 h 52"/>
                    <a:gd name="T18" fmla="*/ 14 w 50"/>
                    <a:gd name="T19" fmla="*/ 2 h 52"/>
                    <a:gd name="T20" fmla="*/ 26 w 50"/>
                    <a:gd name="T21" fmla="*/ 0 h 52"/>
                    <a:gd name="T22" fmla="*/ 26 w 50"/>
                    <a:gd name="T23" fmla="*/ 0 h 52"/>
                    <a:gd name="T24" fmla="*/ 36 w 50"/>
                    <a:gd name="T25" fmla="*/ 2 h 52"/>
                    <a:gd name="T26" fmla="*/ 44 w 50"/>
                    <a:gd name="T27" fmla="*/ 8 h 52"/>
                    <a:gd name="T28" fmla="*/ 48 w 50"/>
                    <a:gd name="T29" fmla="*/ 16 h 52"/>
                    <a:gd name="T30" fmla="*/ 50 w 50"/>
                    <a:gd name="T31" fmla="*/ 26 h 52"/>
                    <a:gd name="T32" fmla="*/ 50 w 50"/>
                    <a:gd name="T33" fmla="*/ 26 h 52"/>
                    <a:gd name="T34" fmla="*/ 48 w 50"/>
                    <a:gd name="T35" fmla="*/ 36 h 52"/>
                    <a:gd name="T36" fmla="*/ 44 w 50"/>
                    <a:gd name="T37" fmla="*/ 44 h 52"/>
                    <a:gd name="T38" fmla="*/ 36 w 50"/>
                    <a:gd name="T39" fmla="*/ 50 h 52"/>
                    <a:gd name="T40" fmla="*/ 26 w 50"/>
                    <a:gd name="T41" fmla="*/ 52 h 52"/>
                    <a:gd name="T42" fmla="*/ 26 w 50"/>
                    <a:gd name="T43" fmla="*/ 52 h 52"/>
                    <a:gd name="T44" fmla="*/ 26 w 50"/>
                    <a:gd name="T45" fmla="*/ 12 h 52"/>
                    <a:gd name="T46" fmla="*/ 26 w 50"/>
                    <a:gd name="T47" fmla="*/ 12 h 52"/>
                    <a:gd name="T48" fmla="*/ 20 w 50"/>
                    <a:gd name="T49" fmla="*/ 14 h 52"/>
                    <a:gd name="T50" fmla="*/ 16 w 50"/>
                    <a:gd name="T51" fmla="*/ 16 h 52"/>
                    <a:gd name="T52" fmla="*/ 14 w 50"/>
                    <a:gd name="T53" fmla="*/ 20 h 52"/>
                    <a:gd name="T54" fmla="*/ 12 w 50"/>
                    <a:gd name="T55" fmla="*/ 26 h 52"/>
                    <a:gd name="T56" fmla="*/ 12 w 50"/>
                    <a:gd name="T57" fmla="*/ 26 h 52"/>
                    <a:gd name="T58" fmla="*/ 14 w 50"/>
                    <a:gd name="T59" fmla="*/ 30 h 52"/>
                    <a:gd name="T60" fmla="*/ 16 w 50"/>
                    <a:gd name="T61" fmla="*/ 34 h 52"/>
                    <a:gd name="T62" fmla="*/ 20 w 50"/>
                    <a:gd name="T63" fmla="*/ 38 h 52"/>
                    <a:gd name="T64" fmla="*/ 26 w 50"/>
                    <a:gd name="T65" fmla="*/ 38 h 52"/>
                    <a:gd name="T66" fmla="*/ 26 w 50"/>
                    <a:gd name="T67" fmla="*/ 38 h 52"/>
                    <a:gd name="T68" fmla="*/ 30 w 50"/>
                    <a:gd name="T69" fmla="*/ 38 h 52"/>
                    <a:gd name="T70" fmla="*/ 34 w 50"/>
                    <a:gd name="T71" fmla="*/ 34 h 52"/>
                    <a:gd name="T72" fmla="*/ 36 w 50"/>
                    <a:gd name="T73" fmla="*/ 30 h 52"/>
                    <a:gd name="T74" fmla="*/ 38 w 50"/>
                    <a:gd name="T75" fmla="*/ 26 h 52"/>
                    <a:gd name="T76" fmla="*/ 38 w 50"/>
                    <a:gd name="T77" fmla="*/ 26 h 52"/>
                    <a:gd name="T78" fmla="*/ 36 w 50"/>
                    <a:gd name="T79" fmla="*/ 20 h 52"/>
                    <a:gd name="T80" fmla="*/ 34 w 50"/>
                    <a:gd name="T81" fmla="*/ 16 h 52"/>
                    <a:gd name="T82" fmla="*/ 30 w 50"/>
                    <a:gd name="T83" fmla="*/ 14 h 52"/>
                    <a:gd name="T84" fmla="*/ 26 w 50"/>
                    <a:gd name="T85" fmla="*/ 12 h 52"/>
                    <a:gd name="T86" fmla="*/ 26 w 50"/>
                    <a:gd name="T87"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 h="52">
                      <a:moveTo>
                        <a:pt x="26" y="52"/>
                      </a:moveTo>
                      <a:lnTo>
                        <a:pt x="26" y="52"/>
                      </a:lnTo>
                      <a:lnTo>
                        <a:pt x="14" y="50"/>
                      </a:lnTo>
                      <a:lnTo>
                        <a:pt x="6" y="44"/>
                      </a:lnTo>
                      <a:lnTo>
                        <a:pt x="2" y="36"/>
                      </a:lnTo>
                      <a:lnTo>
                        <a:pt x="0" y="26"/>
                      </a:lnTo>
                      <a:lnTo>
                        <a:pt x="0" y="26"/>
                      </a:lnTo>
                      <a:lnTo>
                        <a:pt x="2" y="16"/>
                      </a:lnTo>
                      <a:lnTo>
                        <a:pt x="6" y="8"/>
                      </a:lnTo>
                      <a:lnTo>
                        <a:pt x="14" y="2"/>
                      </a:lnTo>
                      <a:lnTo>
                        <a:pt x="26" y="0"/>
                      </a:lnTo>
                      <a:lnTo>
                        <a:pt x="26" y="0"/>
                      </a:lnTo>
                      <a:lnTo>
                        <a:pt x="36" y="2"/>
                      </a:lnTo>
                      <a:lnTo>
                        <a:pt x="44" y="8"/>
                      </a:lnTo>
                      <a:lnTo>
                        <a:pt x="48" y="16"/>
                      </a:lnTo>
                      <a:lnTo>
                        <a:pt x="50" y="26"/>
                      </a:lnTo>
                      <a:lnTo>
                        <a:pt x="50" y="26"/>
                      </a:lnTo>
                      <a:lnTo>
                        <a:pt x="48" y="36"/>
                      </a:lnTo>
                      <a:lnTo>
                        <a:pt x="44" y="44"/>
                      </a:lnTo>
                      <a:lnTo>
                        <a:pt x="36" y="50"/>
                      </a:lnTo>
                      <a:lnTo>
                        <a:pt x="26" y="52"/>
                      </a:lnTo>
                      <a:lnTo>
                        <a:pt x="26" y="52"/>
                      </a:lnTo>
                      <a:close/>
                      <a:moveTo>
                        <a:pt x="26" y="12"/>
                      </a:moveTo>
                      <a:lnTo>
                        <a:pt x="26" y="12"/>
                      </a:lnTo>
                      <a:lnTo>
                        <a:pt x="20" y="14"/>
                      </a:lnTo>
                      <a:lnTo>
                        <a:pt x="16" y="16"/>
                      </a:lnTo>
                      <a:lnTo>
                        <a:pt x="14" y="20"/>
                      </a:lnTo>
                      <a:lnTo>
                        <a:pt x="12" y="26"/>
                      </a:lnTo>
                      <a:lnTo>
                        <a:pt x="12" y="26"/>
                      </a:lnTo>
                      <a:lnTo>
                        <a:pt x="14" y="30"/>
                      </a:lnTo>
                      <a:lnTo>
                        <a:pt x="16" y="34"/>
                      </a:lnTo>
                      <a:lnTo>
                        <a:pt x="20" y="38"/>
                      </a:lnTo>
                      <a:lnTo>
                        <a:pt x="26" y="38"/>
                      </a:lnTo>
                      <a:lnTo>
                        <a:pt x="26" y="38"/>
                      </a:lnTo>
                      <a:lnTo>
                        <a:pt x="30" y="38"/>
                      </a:lnTo>
                      <a:lnTo>
                        <a:pt x="34" y="34"/>
                      </a:lnTo>
                      <a:lnTo>
                        <a:pt x="36" y="30"/>
                      </a:lnTo>
                      <a:lnTo>
                        <a:pt x="38" y="26"/>
                      </a:lnTo>
                      <a:lnTo>
                        <a:pt x="38" y="26"/>
                      </a:lnTo>
                      <a:lnTo>
                        <a:pt x="36" y="20"/>
                      </a:lnTo>
                      <a:lnTo>
                        <a:pt x="34" y="16"/>
                      </a:lnTo>
                      <a:lnTo>
                        <a:pt x="30" y="14"/>
                      </a:lnTo>
                      <a:lnTo>
                        <a:pt x="26" y="12"/>
                      </a:lnTo>
                      <a:lnTo>
                        <a:pt x="26"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65" name="Freeform 39"/>
                <p:cNvSpPr>
                  <a:spLocks noEditPoints="1"/>
                </p:cNvSpPr>
                <p:nvPr/>
              </p:nvSpPr>
              <p:spPr bwMode="auto">
                <a:xfrm>
                  <a:off x="3286919" y="2310606"/>
                  <a:ext cx="82550" cy="82550"/>
                </a:xfrm>
                <a:custGeom>
                  <a:avLst/>
                  <a:gdLst>
                    <a:gd name="T0" fmla="*/ 26 w 52"/>
                    <a:gd name="T1" fmla="*/ 52 h 52"/>
                    <a:gd name="T2" fmla="*/ 26 w 52"/>
                    <a:gd name="T3" fmla="*/ 52 h 52"/>
                    <a:gd name="T4" fmla="*/ 16 w 52"/>
                    <a:gd name="T5" fmla="*/ 50 h 52"/>
                    <a:gd name="T6" fmla="*/ 8 w 52"/>
                    <a:gd name="T7" fmla="*/ 44 h 52"/>
                    <a:gd name="T8" fmla="*/ 2 w 52"/>
                    <a:gd name="T9" fmla="*/ 36 h 52"/>
                    <a:gd name="T10" fmla="*/ 0 w 52"/>
                    <a:gd name="T11" fmla="*/ 26 h 52"/>
                    <a:gd name="T12" fmla="*/ 0 w 52"/>
                    <a:gd name="T13" fmla="*/ 26 h 52"/>
                    <a:gd name="T14" fmla="*/ 2 w 52"/>
                    <a:gd name="T15" fmla="*/ 16 h 52"/>
                    <a:gd name="T16" fmla="*/ 8 w 52"/>
                    <a:gd name="T17" fmla="*/ 8 h 52"/>
                    <a:gd name="T18" fmla="*/ 16 w 52"/>
                    <a:gd name="T19" fmla="*/ 2 h 52"/>
                    <a:gd name="T20" fmla="*/ 26 w 52"/>
                    <a:gd name="T21" fmla="*/ 0 h 52"/>
                    <a:gd name="T22" fmla="*/ 26 w 52"/>
                    <a:gd name="T23" fmla="*/ 0 h 52"/>
                    <a:gd name="T24" fmla="*/ 36 w 52"/>
                    <a:gd name="T25" fmla="*/ 2 h 52"/>
                    <a:gd name="T26" fmla="*/ 44 w 52"/>
                    <a:gd name="T27" fmla="*/ 8 h 52"/>
                    <a:gd name="T28" fmla="*/ 50 w 52"/>
                    <a:gd name="T29" fmla="*/ 16 h 52"/>
                    <a:gd name="T30" fmla="*/ 52 w 52"/>
                    <a:gd name="T31" fmla="*/ 26 h 52"/>
                    <a:gd name="T32" fmla="*/ 52 w 52"/>
                    <a:gd name="T33" fmla="*/ 26 h 52"/>
                    <a:gd name="T34" fmla="*/ 50 w 52"/>
                    <a:gd name="T35" fmla="*/ 36 h 52"/>
                    <a:gd name="T36" fmla="*/ 44 w 52"/>
                    <a:gd name="T37" fmla="*/ 44 h 52"/>
                    <a:gd name="T38" fmla="*/ 36 w 52"/>
                    <a:gd name="T39" fmla="*/ 50 h 52"/>
                    <a:gd name="T40" fmla="*/ 26 w 52"/>
                    <a:gd name="T41" fmla="*/ 52 h 52"/>
                    <a:gd name="T42" fmla="*/ 26 w 52"/>
                    <a:gd name="T43" fmla="*/ 52 h 52"/>
                    <a:gd name="T44" fmla="*/ 26 w 52"/>
                    <a:gd name="T45" fmla="*/ 12 h 52"/>
                    <a:gd name="T46" fmla="*/ 26 w 52"/>
                    <a:gd name="T47" fmla="*/ 12 h 52"/>
                    <a:gd name="T48" fmla="*/ 20 w 52"/>
                    <a:gd name="T49" fmla="*/ 14 h 52"/>
                    <a:gd name="T50" fmla="*/ 16 w 52"/>
                    <a:gd name="T51" fmla="*/ 16 h 52"/>
                    <a:gd name="T52" fmla="*/ 14 w 52"/>
                    <a:gd name="T53" fmla="*/ 20 h 52"/>
                    <a:gd name="T54" fmla="*/ 12 w 52"/>
                    <a:gd name="T55" fmla="*/ 26 h 52"/>
                    <a:gd name="T56" fmla="*/ 12 w 52"/>
                    <a:gd name="T57" fmla="*/ 26 h 52"/>
                    <a:gd name="T58" fmla="*/ 14 w 52"/>
                    <a:gd name="T59" fmla="*/ 30 h 52"/>
                    <a:gd name="T60" fmla="*/ 16 w 52"/>
                    <a:gd name="T61" fmla="*/ 34 h 52"/>
                    <a:gd name="T62" fmla="*/ 20 w 52"/>
                    <a:gd name="T63" fmla="*/ 38 h 52"/>
                    <a:gd name="T64" fmla="*/ 26 w 52"/>
                    <a:gd name="T65" fmla="*/ 38 h 52"/>
                    <a:gd name="T66" fmla="*/ 26 w 52"/>
                    <a:gd name="T67" fmla="*/ 38 h 52"/>
                    <a:gd name="T68" fmla="*/ 30 w 52"/>
                    <a:gd name="T69" fmla="*/ 38 h 52"/>
                    <a:gd name="T70" fmla="*/ 34 w 52"/>
                    <a:gd name="T71" fmla="*/ 34 h 52"/>
                    <a:gd name="T72" fmla="*/ 38 w 52"/>
                    <a:gd name="T73" fmla="*/ 30 h 52"/>
                    <a:gd name="T74" fmla="*/ 38 w 52"/>
                    <a:gd name="T75" fmla="*/ 26 h 52"/>
                    <a:gd name="T76" fmla="*/ 38 w 52"/>
                    <a:gd name="T77" fmla="*/ 26 h 52"/>
                    <a:gd name="T78" fmla="*/ 38 w 52"/>
                    <a:gd name="T79" fmla="*/ 20 h 52"/>
                    <a:gd name="T80" fmla="*/ 34 w 52"/>
                    <a:gd name="T81" fmla="*/ 16 h 52"/>
                    <a:gd name="T82" fmla="*/ 30 w 52"/>
                    <a:gd name="T83" fmla="*/ 14 h 52"/>
                    <a:gd name="T84" fmla="*/ 26 w 52"/>
                    <a:gd name="T85" fmla="*/ 12 h 52"/>
                    <a:gd name="T86" fmla="*/ 26 w 52"/>
                    <a:gd name="T87"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52">
                      <a:moveTo>
                        <a:pt x="26" y="52"/>
                      </a:moveTo>
                      <a:lnTo>
                        <a:pt x="26" y="52"/>
                      </a:lnTo>
                      <a:lnTo>
                        <a:pt x="16" y="50"/>
                      </a:lnTo>
                      <a:lnTo>
                        <a:pt x="8" y="44"/>
                      </a:lnTo>
                      <a:lnTo>
                        <a:pt x="2" y="36"/>
                      </a:lnTo>
                      <a:lnTo>
                        <a:pt x="0" y="26"/>
                      </a:lnTo>
                      <a:lnTo>
                        <a:pt x="0" y="26"/>
                      </a:lnTo>
                      <a:lnTo>
                        <a:pt x="2" y="16"/>
                      </a:lnTo>
                      <a:lnTo>
                        <a:pt x="8" y="8"/>
                      </a:lnTo>
                      <a:lnTo>
                        <a:pt x="16" y="2"/>
                      </a:lnTo>
                      <a:lnTo>
                        <a:pt x="26" y="0"/>
                      </a:lnTo>
                      <a:lnTo>
                        <a:pt x="26" y="0"/>
                      </a:lnTo>
                      <a:lnTo>
                        <a:pt x="36" y="2"/>
                      </a:lnTo>
                      <a:lnTo>
                        <a:pt x="44" y="8"/>
                      </a:lnTo>
                      <a:lnTo>
                        <a:pt x="50" y="16"/>
                      </a:lnTo>
                      <a:lnTo>
                        <a:pt x="52" y="26"/>
                      </a:lnTo>
                      <a:lnTo>
                        <a:pt x="52" y="26"/>
                      </a:lnTo>
                      <a:lnTo>
                        <a:pt x="50" y="36"/>
                      </a:lnTo>
                      <a:lnTo>
                        <a:pt x="44" y="44"/>
                      </a:lnTo>
                      <a:lnTo>
                        <a:pt x="36" y="50"/>
                      </a:lnTo>
                      <a:lnTo>
                        <a:pt x="26" y="52"/>
                      </a:lnTo>
                      <a:lnTo>
                        <a:pt x="26" y="52"/>
                      </a:lnTo>
                      <a:close/>
                      <a:moveTo>
                        <a:pt x="26" y="12"/>
                      </a:moveTo>
                      <a:lnTo>
                        <a:pt x="26" y="12"/>
                      </a:lnTo>
                      <a:lnTo>
                        <a:pt x="20" y="14"/>
                      </a:lnTo>
                      <a:lnTo>
                        <a:pt x="16" y="16"/>
                      </a:lnTo>
                      <a:lnTo>
                        <a:pt x="14" y="20"/>
                      </a:lnTo>
                      <a:lnTo>
                        <a:pt x="12" y="26"/>
                      </a:lnTo>
                      <a:lnTo>
                        <a:pt x="12" y="26"/>
                      </a:lnTo>
                      <a:lnTo>
                        <a:pt x="14" y="30"/>
                      </a:lnTo>
                      <a:lnTo>
                        <a:pt x="16" y="34"/>
                      </a:lnTo>
                      <a:lnTo>
                        <a:pt x="20" y="38"/>
                      </a:lnTo>
                      <a:lnTo>
                        <a:pt x="26" y="38"/>
                      </a:lnTo>
                      <a:lnTo>
                        <a:pt x="26" y="38"/>
                      </a:lnTo>
                      <a:lnTo>
                        <a:pt x="30" y="38"/>
                      </a:lnTo>
                      <a:lnTo>
                        <a:pt x="34" y="34"/>
                      </a:lnTo>
                      <a:lnTo>
                        <a:pt x="38" y="30"/>
                      </a:lnTo>
                      <a:lnTo>
                        <a:pt x="38" y="26"/>
                      </a:lnTo>
                      <a:lnTo>
                        <a:pt x="38" y="26"/>
                      </a:lnTo>
                      <a:lnTo>
                        <a:pt x="38" y="20"/>
                      </a:lnTo>
                      <a:lnTo>
                        <a:pt x="34" y="16"/>
                      </a:lnTo>
                      <a:lnTo>
                        <a:pt x="30" y="14"/>
                      </a:lnTo>
                      <a:lnTo>
                        <a:pt x="26" y="12"/>
                      </a:lnTo>
                      <a:lnTo>
                        <a:pt x="26"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67" name="Freeform 40"/>
                <p:cNvSpPr>
                  <a:spLocks/>
                </p:cNvSpPr>
                <p:nvPr/>
              </p:nvSpPr>
              <p:spPr bwMode="auto">
                <a:xfrm>
                  <a:off x="3042444" y="2431256"/>
                  <a:ext cx="355600" cy="228600"/>
                </a:xfrm>
                <a:custGeom>
                  <a:avLst/>
                  <a:gdLst>
                    <a:gd name="T0" fmla="*/ 202 w 224"/>
                    <a:gd name="T1" fmla="*/ 144 h 144"/>
                    <a:gd name="T2" fmla="*/ 20 w 224"/>
                    <a:gd name="T3" fmla="*/ 144 h 144"/>
                    <a:gd name="T4" fmla="*/ 20 w 224"/>
                    <a:gd name="T5" fmla="*/ 144 h 144"/>
                    <a:gd name="T6" fmla="*/ 16 w 224"/>
                    <a:gd name="T7" fmla="*/ 142 h 144"/>
                    <a:gd name="T8" fmla="*/ 12 w 224"/>
                    <a:gd name="T9" fmla="*/ 140 h 144"/>
                    <a:gd name="T10" fmla="*/ 6 w 224"/>
                    <a:gd name="T11" fmla="*/ 132 h 144"/>
                    <a:gd name="T12" fmla="*/ 2 w 224"/>
                    <a:gd name="T13" fmla="*/ 122 h 144"/>
                    <a:gd name="T14" fmla="*/ 0 w 224"/>
                    <a:gd name="T15" fmla="*/ 114 h 144"/>
                    <a:gd name="T16" fmla="*/ 0 w 224"/>
                    <a:gd name="T17" fmla="*/ 114 h 144"/>
                    <a:gd name="T18" fmla="*/ 2 w 224"/>
                    <a:gd name="T19" fmla="*/ 108 h 144"/>
                    <a:gd name="T20" fmla="*/ 6 w 224"/>
                    <a:gd name="T21" fmla="*/ 106 h 144"/>
                    <a:gd name="T22" fmla="*/ 192 w 224"/>
                    <a:gd name="T23" fmla="*/ 106 h 144"/>
                    <a:gd name="T24" fmla="*/ 192 w 224"/>
                    <a:gd name="T25" fmla="*/ 12 h 144"/>
                    <a:gd name="T26" fmla="*/ 32 w 224"/>
                    <a:gd name="T27" fmla="*/ 12 h 144"/>
                    <a:gd name="T28" fmla="*/ 32 w 224"/>
                    <a:gd name="T29" fmla="*/ 94 h 144"/>
                    <a:gd name="T30" fmla="*/ 32 w 224"/>
                    <a:gd name="T31" fmla="*/ 94 h 144"/>
                    <a:gd name="T32" fmla="*/ 30 w 224"/>
                    <a:gd name="T33" fmla="*/ 98 h 144"/>
                    <a:gd name="T34" fmla="*/ 26 w 224"/>
                    <a:gd name="T35" fmla="*/ 100 h 144"/>
                    <a:gd name="T36" fmla="*/ 26 w 224"/>
                    <a:gd name="T37" fmla="*/ 100 h 144"/>
                    <a:gd name="T38" fmla="*/ 20 w 224"/>
                    <a:gd name="T39" fmla="*/ 98 h 144"/>
                    <a:gd name="T40" fmla="*/ 18 w 224"/>
                    <a:gd name="T41" fmla="*/ 94 h 144"/>
                    <a:gd name="T42" fmla="*/ 18 w 224"/>
                    <a:gd name="T43" fmla="*/ 6 h 144"/>
                    <a:gd name="T44" fmla="*/ 18 w 224"/>
                    <a:gd name="T45" fmla="*/ 6 h 144"/>
                    <a:gd name="T46" fmla="*/ 20 w 224"/>
                    <a:gd name="T47" fmla="*/ 2 h 144"/>
                    <a:gd name="T48" fmla="*/ 26 w 224"/>
                    <a:gd name="T49" fmla="*/ 0 h 144"/>
                    <a:gd name="T50" fmla="*/ 198 w 224"/>
                    <a:gd name="T51" fmla="*/ 0 h 144"/>
                    <a:gd name="T52" fmla="*/ 198 w 224"/>
                    <a:gd name="T53" fmla="*/ 0 h 144"/>
                    <a:gd name="T54" fmla="*/ 202 w 224"/>
                    <a:gd name="T55" fmla="*/ 2 h 144"/>
                    <a:gd name="T56" fmla="*/ 204 w 224"/>
                    <a:gd name="T57" fmla="*/ 6 h 144"/>
                    <a:gd name="T58" fmla="*/ 204 w 224"/>
                    <a:gd name="T59" fmla="*/ 114 h 144"/>
                    <a:gd name="T60" fmla="*/ 204 w 224"/>
                    <a:gd name="T61" fmla="*/ 114 h 144"/>
                    <a:gd name="T62" fmla="*/ 202 w 224"/>
                    <a:gd name="T63" fmla="*/ 118 h 144"/>
                    <a:gd name="T64" fmla="*/ 198 w 224"/>
                    <a:gd name="T65" fmla="*/ 120 h 144"/>
                    <a:gd name="T66" fmla="*/ 14 w 224"/>
                    <a:gd name="T67" fmla="*/ 120 h 144"/>
                    <a:gd name="T68" fmla="*/ 14 w 224"/>
                    <a:gd name="T69" fmla="*/ 120 h 144"/>
                    <a:gd name="T70" fmla="*/ 18 w 224"/>
                    <a:gd name="T71" fmla="*/ 128 h 144"/>
                    <a:gd name="T72" fmla="*/ 20 w 224"/>
                    <a:gd name="T73" fmla="*/ 130 h 144"/>
                    <a:gd name="T74" fmla="*/ 202 w 224"/>
                    <a:gd name="T75" fmla="*/ 130 h 144"/>
                    <a:gd name="T76" fmla="*/ 202 w 224"/>
                    <a:gd name="T77" fmla="*/ 130 h 144"/>
                    <a:gd name="T78" fmla="*/ 206 w 224"/>
                    <a:gd name="T79" fmla="*/ 128 h 144"/>
                    <a:gd name="T80" fmla="*/ 208 w 224"/>
                    <a:gd name="T81" fmla="*/ 124 h 144"/>
                    <a:gd name="T82" fmla="*/ 210 w 224"/>
                    <a:gd name="T83" fmla="*/ 118 h 144"/>
                    <a:gd name="T84" fmla="*/ 210 w 224"/>
                    <a:gd name="T85" fmla="*/ 114 h 144"/>
                    <a:gd name="T86" fmla="*/ 210 w 224"/>
                    <a:gd name="T87" fmla="*/ 114 h 144"/>
                    <a:gd name="T88" fmla="*/ 212 w 224"/>
                    <a:gd name="T89" fmla="*/ 108 h 144"/>
                    <a:gd name="T90" fmla="*/ 218 w 224"/>
                    <a:gd name="T91" fmla="*/ 106 h 144"/>
                    <a:gd name="T92" fmla="*/ 218 w 224"/>
                    <a:gd name="T93" fmla="*/ 106 h 144"/>
                    <a:gd name="T94" fmla="*/ 222 w 224"/>
                    <a:gd name="T95" fmla="*/ 108 h 144"/>
                    <a:gd name="T96" fmla="*/ 224 w 224"/>
                    <a:gd name="T97" fmla="*/ 114 h 144"/>
                    <a:gd name="T98" fmla="*/ 224 w 224"/>
                    <a:gd name="T99" fmla="*/ 114 h 144"/>
                    <a:gd name="T100" fmla="*/ 222 w 224"/>
                    <a:gd name="T101" fmla="*/ 122 h 144"/>
                    <a:gd name="T102" fmla="*/ 218 w 224"/>
                    <a:gd name="T103" fmla="*/ 132 h 144"/>
                    <a:gd name="T104" fmla="*/ 212 w 224"/>
                    <a:gd name="T105" fmla="*/ 140 h 144"/>
                    <a:gd name="T106" fmla="*/ 208 w 224"/>
                    <a:gd name="T107" fmla="*/ 142 h 144"/>
                    <a:gd name="T108" fmla="*/ 202 w 224"/>
                    <a:gd name="T109" fmla="*/ 144 h 144"/>
                    <a:gd name="T110" fmla="*/ 202 w 224"/>
                    <a:gd name="T11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4" h="144">
                      <a:moveTo>
                        <a:pt x="202" y="144"/>
                      </a:moveTo>
                      <a:lnTo>
                        <a:pt x="20" y="144"/>
                      </a:lnTo>
                      <a:lnTo>
                        <a:pt x="20" y="144"/>
                      </a:lnTo>
                      <a:lnTo>
                        <a:pt x="16" y="142"/>
                      </a:lnTo>
                      <a:lnTo>
                        <a:pt x="12" y="140"/>
                      </a:lnTo>
                      <a:lnTo>
                        <a:pt x="6" y="132"/>
                      </a:lnTo>
                      <a:lnTo>
                        <a:pt x="2" y="122"/>
                      </a:lnTo>
                      <a:lnTo>
                        <a:pt x="0" y="114"/>
                      </a:lnTo>
                      <a:lnTo>
                        <a:pt x="0" y="114"/>
                      </a:lnTo>
                      <a:lnTo>
                        <a:pt x="2" y="108"/>
                      </a:lnTo>
                      <a:lnTo>
                        <a:pt x="6" y="106"/>
                      </a:lnTo>
                      <a:lnTo>
                        <a:pt x="192" y="106"/>
                      </a:lnTo>
                      <a:lnTo>
                        <a:pt x="192" y="12"/>
                      </a:lnTo>
                      <a:lnTo>
                        <a:pt x="32" y="12"/>
                      </a:lnTo>
                      <a:lnTo>
                        <a:pt x="32" y="94"/>
                      </a:lnTo>
                      <a:lnTo>
                        <a:pt x="32" y="94"/>
                      </a:lnTo>
                      <a:lnTo>
                        <a:pt x="30" y="98"/>
                      </a:lnTo>
                      <a:lnTo>
                        <a:pt x="26" y="100"/>
                      </a:lnTo>
                      <a:lnTo>
                        <a:pt x="26" y="100"/>
                      </a:lnTo>
                      <a:lnTo>
                        <a:pt x="20" y="98"/>
                      </a:lnTo>
                      <a:lnTo>
                        <a:pt x="18" y="94"/>
                      </a:lnTo>
                      <a:lnTo>
                        <a:pt x="18" y="6"/>
                      </a:lnTo>
                      <a:lnTo>
                        <a:pt x="18" y="6"/>
                      </a:lnTo>
                      <a:lnTo>
                        <a:pt x="20" y="2"/>
                      </a:lnTo>
                      <a:lnTo>
                        <a:pt x="26" y="0"/>
                      </a:lnTo>
                      <a:lnTo>
                        <a:pt x="198" y="0"/>
                      </a:lnTo>
                      <a:lnTo>
                        <a:pt x="198" y="0"/>
                      </a:lnTo>
                      <a:lnTo>
                        <a:pt x="202" y="2"/>
                      </a:lnTo>
                      <a:lnTo>
                        <a:pt x="204" y="6"/>
                      </a:lnTo>
                      <a:lnTo>
                        <a:pt x="204" y="114"/>
                      </a:lnTo>
                      <a:lnTo>
                        <a:pt x="204" y="114"/>
                      </a:lnTo>
                      <a:lnTo>
                        <a:pt x="202" y="118"/>
                      </a:lnTo>
                      <a:lnTo>
                        <a:pt x="198" y="120"/>
                      </a:lnTo>
                      <a:lnTo>
                        <a:pt x="14" y="120"/>
                      </a:lnTo>
                      <a:lnTo>
                        <a:pt x="14" y="120"/>
                      </a:lnTo>
                      <a:lnTo>
                        <a:pt x="18" y="128"/>
                      </a:lnTo>
                      <a:lnTo>
                        <a:pt x="20" y="130"/>
                      </a:lnTo>
                      <a:lnTo>
                        <a:pt x="202" y="130"/>
                      </a:lnTo>
                      <a:lnTo>
                        <a:pt x="202" y="130"/>
                      </a:lnTo>
                      <a:lnTo>
                        <a:pt x="206" y="128"/>
                      </a:lnTo>
                      <a:lnTo>
                        <a:pt x="208" y="124"/>
                      </a:lnTo>
                      <a:lnTo>
                        <a:pt x="210" y="118"/>
                      </a:lnTo>
                      <a:lnTo>
                        <a:pt x="210" y="114"/>
                      </a:lnTo>
                      <a:lnTo>
                        <a:pt x="210" y="114"/>
                      </a:lnTo>
                      <a:lnTo>
                        <a:pt x="212" y="108"/>
                      </a:lnTo>
                      <a:lnTo>
                        <a:pt x="218" y="106"/>
                      </a:lnTo>
                      <a:lnTo>
                        <a:pt x="218" y="106"/>
                      </a:lnTo>
                      <a:lnTo>
                        <a:pt x="222" y="108"/>
                      </a:lnTo>
                      <a:lnTo>
                        <a:pt x="224" y="114"/>
                      </a:lnTo>
                      <a:lnTo>
                        <a:pt x="224" y="114"/>
                      </a:lnTo>
                      <a:lnTo>
                        <a:pt x="222" y="122"/>
                      </a:lnTo>
                      <a:lnTo>
                        <a:pt x="218" y="132"/>
                      </a:lnTo>
                      <a:lnTo>
                        <a:pt x="212" y="140"/>
                      </a:lnTo>
                      <a:lnTo>
                        <a:pt x="208" y="142"/>
                      </a:lnTo>
                      <a:lnTo>
                        <a:pt x="202" y="144"/>
                      </a:lnTo>
                      <a:lnTo>
                        <a:pt x="202"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68" name="Freeform 41"/>
                <p:cNvSpPr>
                  <a:spLocks/>
                </p:cNvSpPr>
                <p:nvPr/>
              </p:nvSpPr>
              <p:spPr bwMode="auto">
                <a:xfrm>
                  <a:off x="3112294" y="2367756"/>
                  <a:ext cx="95250" cy="142875"/>
                </a:xfrm>
                <a:custGeom>
                  <a:avLst/>
                  <a:gdLst>
                    <a:gd name="T0" fmla="*/ 54 w 60"/>
                    <a:gd name="T1" fmla="*/ 90 h 90"/>
                    <a:gd name="T2" fmla="*/ 54 w 60"/>
                    <a:gd name="T3" fmla="*/ 90 h 90"/>
                    <a:gd name="T4" fmla="*/ 52 w 60"/>
                    <a:gd name="T5" fmla="*/ 88 h 90"/>
                    <a:gd name="T6" fmla="*/ 48 w 60"/>
                    <a:gd name="T7" fmla="*/ 86 h 90"/>
                    <a:gd name="T8" fmla="*/ 0 w 60"/>
                    <a:gd name="T9" fmla="*/ 10 h 90"/>
                    <a:gd name="T10" fmla="*/ 0 w 60"/>
                    <a:gd name="T11" fmla="*/ 10 h 90"/>
                    <a:gd name="T12" fmla="*/ 0 w 60"/>
                    <a:gd name="T13" fmla="*/ 4 h 90"/>
                    <a:gd name="T14" fmla="*/ 2 w 60"/>
                    <a:gd name="T15" fmla="*/ 0 h 90"/>
                    <a:gd name="T16" fmla="*/ 2 w 60"/>
                    <a:gd name="T17" fmla="*/ 0 h 90"/>
                    <a:gd name="T18" fmla="*/ 8 w 60"/>
                    <a:gd name="T19" fmla="*/ 0 h 90"/>
                    <a:gd name="T20" fmla="*/ 12 w 60"/>
                    <a:gd name="T21" fmla="*/ 2 h 90"/>
                    <a:gd name="T22" fmla="*/ 60 w 60"/>
                    <a:gd name="T23" fmla="*/ 80 h 90"/>
                    <a:gd name="T24" fmla="*/ 60 w 60"/>
                    <a:gd name="T25" fmla="*/ 80 h 90"/>
                    <a:gd name="T26" fmla="*/ 60 w 60"/>
                    <a:gd name="T27" fmla="*/ 84 h 90"/>
                    <a:gd name="T28" fmla="*/ 58 w 60"/>
                    <a:gd name="T29" fmla="*/ 88 h 90"/>
                    <a:gd name="T30" fmla="*/ 58 w 60"/>
                    <a:gd name="T31" fmla="*/ 88 h 90"/>
                    <a:gd name="T32" fmla="*/ 54 w 60"/>
                    <a:gd name="T33" fmla="*/ 90 h 90"/>
                    <a:gd name="T34" fmla="*/ 54 w 60"/>
                    <a:gd name="T3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90">
                      <a:moveTo>
                        <a:pt x="54" y="90"/>
                      </a:moveTo>
                      <a:lnTo>
                        <a:pt x="54" y="90"/>
                      </a:lnTo>
                      <a:lnTo>
                        <a:pt x="52" y="88"/>
                      </a:lnTo>
                      <a:lnTo>
                        <a:pt x="48" y="86"/>
                      </a:lnTo>
                      <a:lnTo>
                        <a:pt x="0" y="10"/>
                      </a:lnTo>
                      <a:lnTo>
                        <a:pt x="0" y="10"/>
                      </a:lnTo>
                      <a:lnTo>
                        <a:pt x="0" y="4"/>
                      </a:lnTo>
                      <a:lnTo>
                        <a:pt x="2" y="0"/>
                      </a:lnTo>
                      <a:lnTo>
                        <a:pt x="2" y="0"/>
                      </a:lnTo>
                      <a:lnTo>
                        <a:pt x="8" y="0"/>
                      </a:lnTo>
                      <a:lnTo>
                        <a:pt x="12" y="2"/>
                      </a:lnTo>
                      <a:lnTo>
                        <a:pt x="60" y="80"/>
                      </a:lnTo>
                      <a:lnTo>
                        <a:pt x="60" y="80"/>
                      </a:lnTo>
                      <a:lnTo>
                        <a:pt x="60" y="84"/>
                      </a:lnTo>
                      <a:lnTo>
                        <a:pt x="58" y="88"/>
                      </a:lnTo>
                      <a:lnTo>
                        <a:pt x="58" y="88"/>
                      </a:lnTo>
                      <a:lnTo>
                        <a:pt x="54" y="90"/>
                      </a:lnTo>
                      <a:lnTo>
                        <a:pt x="54"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69" name="Freeform 42"/>
                <p:cNvSpPr>
                  <a:spLocks/>
                </p:cNvSpPr>
                <p:nvPr/>
              </p:nvSpPr>
              <p:spPr bwMode="auto">
                <a:xfrm>
                  <a:off x="3128169" y="2339181"/>
                  <a:ext cx="177800" cy="22225"/>
                </a:xfrm>
                <a:custGeom>
                  <a:avLst/>
                  <a:gdLst>
                    <a:gd name="T0" fmla="*/ 106 w 112"/>
                    <a:gd name="T1" fmla="*/ 14 h 14"/>
                    <a:gd name="T2" fmla="*/ 6 w 112"/>
                    <a:gd name="T3" fmla="*/ 14 h 14"/>
                    <a:gd name="T4" fmla="*/ 6 w 112"/>
                    <a:gd name="T5" fmla="*/ 14 h 14"/>
                    <a:gd name="T6" fmla="*/ 2 w 112"/>
                    <a:gd name="T7" fmla="*/ 12 h 14"/>
                    <a:gd name="T8" fmla="*/ 0 w 112"/>
                    <a:gd name="T9" fmla="*/ 8 h 14"/>
                    <a:gd name="T10" fmla="*/ 0 w 112"/>
                    <a:gd name="T11" fmla="*/ 8 h 14"/>
                    <a:gd name="T12" fmla="*/ 2 w 112"/>
                    <a:gd name="T13" fmla="*/ 2 h 14"/>
                    <a:gd name="T14" fmla="*/ 6 w 112"/>
                    <a:gd name="T15" fmla="*/ 0 h 14"/>
                    <a:gd name="T16" fmla="*/ 106 w 112"/>
                    <a:gd name="T17" fmla="*/ 0 h 14"/>
                    <a:gd name="T18" fmla="*/ 106 w 112"/>
                    <a:gd name="T19" fmla="*/ 0 h 14"/>
                    <a:gd name="T20" fmla="*/ 110 w 112"/>
                    <a:gd name="T21" fmla="*/ 2 h 14"/>
                    <a:gd name="T22" fmla="*/ 112 w 112"/>
                    <a:gd name="T23" fmla="*/ 8 h 14"/>
                    <a:gd name="T24" fmla="*/ 112 w 112"/>
                    <a:gd name="T25" fmla="*/ 8 h 14"/>
                    <a:gd name="T26" fmla="*/ 110 w 112"/>
                    <a:gd name="T27" fmla="*/ 12 h 14"/>
                    <a:gd name="T28" fmla="*/ 106 w 112"/>
                    <a:gd name="T29" fmla="*/ 14 h 14"/>
                    <a:gd name="T30" fmla="*/ 106 w 112"/>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14">
                      <a:moveTo>
                        <a:pt x="106" y="14"/>
                      </a:moveTo>
                      <a:lnTo>
                        <a:pt x="6" y="14"/>
                      </a:lnTo>
                      <a:lnTo>
                        <a:pt x="6" y="14"/>
                      </a:lnTo>
                      <a:lnTo>
                        <a:pt x="2" y="12"/>
                      </a:lnTo>
                      <a:lnTo>
                        <a:pt x="0" y="8"/>
                      </a:lnTo>
                      <a:lnTo>
                        <a:pt x="0" y="8"/>
                      </a:lnTo>
                      <a:lnTo>
                        <a:pt x="2" y="2"/>
                      </a:lnTo>
                      <a:lnTo>
                        <a:pt x="6" y="0"/>
                      </a:lnTo>
                      <a:lnTo>
                        <a:pt x="106" y="0"/>
                      </a:lnTo>
                      <a:lnTo>
                        <a:pt x="106" y="0"/>
                      </a:lnTo>
                      <a:lnTo>
                        <a:pt x="110" y="2"/>
                      </a:lnTo>
                      <a:lnTo>
                        <a:pt x="112" y="8"/>
                      </a:lnTo>
                      <a:lnTo>
                        <a:pt x="112" y="8"/>
                      </a:lnTo>
                      <a:lnTo>
                        <a:pt x="110" y="12"/>
                      </a:lnTo>
                      <a:lnTo>
                        <a:pt x="106" y="14"/>
                      </a:lnTo>
                      <a:lnTo>
                        <a:pt x="10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grpSp>
        </p:grpSp>
        <p:sp>
          <p:nvSpPr>
            <p:cNvPr id="23" name="Freeform 65"/>
            <p:cNvSpPr>
              <a:spLocks noEditPoints="1"/>
            </p:cNvSpPr>
            <p:nvPr/>
          </p:nvSpPr>
          <p:spPr bwMode="auto">
            <a:xfrm>
              <a:off x="2432050" y="4152900"/>
              <a:ext cx="393700" cy="390525"/>
            </a:xfrm>
            <a:custGeom>
              <a:avLst/>
              <a:gdLst>
                <a:gd name="T0" fmla="*/ 124 w 248"/>
                <a:gd name="T1" fmla="*/ 246 h 246"/>
                <a:gd name="T2" fmla="*/ 100 w 248"/>
                <a:gd name="T3" fmla="*/ 244 h 246"/>
                <a:gd name="T4" fmla="*/ 76 w 248"/>
                <a:gd name="T5" fmla="*/ 238 h 246"/>
                <a:gd name="T6" fmla="*/ 36 w 248"/>
                <a:gd name="T7" fmla="*/ 210 h 246"/>
                <a:gd name="T8" fmla="*/ 10 w 248"/>
                <a:gd name="T9" fmla="*/ 172 h 246"/>
                <a:gd name="T10" fmla="*/ 4 w 248"/>
                <a:gd name="T11" fmla="*/ 148 h 246"/>
                <a:gd name="T12" fmla="*/ 0 w 248"/>
                <a:gd name="T13" fmla="*/ 124 h 246"/>
                <a:gd name="T14" fmla="*/ 2 w 248"/>
                <a:gd name="T15" fmla="*/ 110 h 246"/>
                <a:gd name="T16" fmla="*/ 6 w 248"/>
                <a:gd name="T17" fmla="*/ 86 h 246"/>
                <a:gd name="T18" fmla="*/ 22 w 248"/>
                <a:gd name="T19" fmla="*/ 54 h 246"/>
                <a:gd name="T20" fmla="*/ 56 w 248"/>
                <a:gd name="T21" fmla="*/ 22 h 246"/>
                <a:gd name="T22" fmla="*/ 88 w 248"/>
                <a:gd name="T23" fmla="*/ 6 h 246"/>
                <a:gd name="T24" fmla="*/ 112 w 248"/>
                <a:gd name="T25" fmla="*/ 0 h 246"/>
                <a:gd name="T26" fmla="*/ 124 w 248"/>
                <a:gd name="T27" fmla="*/ 0 h 246"/>
                <a:gd name="T28" fmla="*/ 148 w 248"/>
                <a:gd name="T29" fmla="*/ 2 h 246"/>
                <a:gd name="T30" fmla="*/ 172 w 248"/>
                <a:gd name="T31" fmla="*/ 10 h 246"/>
                <a:gd name="T32" fmla="*/ 212 w 248"/>
                <a:gd name="T33" fmla="*/ 36 h 246"/>
                <a:gd name="T34" fmla="*/ 238 w 248"/>
                <a:gd name="T35" fmla="*/ 76 h 246"/>
                <a:gd name="T36" fmla="*/ 244 w 248"/>
                <a:gd name="T37" fmla="*/ 98 h 246"/>
                <a:gd name="T38" fmla="*/ 248 w 248"/>
                <a:gd name="T39" fmla="*/ 124 h 246"/>
                <a:gd name="T40" fmla="*/ 246 w 248"/>
                <a:gd name="T41" fmla="*/ 136 h 246"/>
                <a:gd name="T42" fmla="*/ 242 w 248"/>
                <a:gd name="T43" fmla="*/ 160 h 246"/>
                <a:gd name="T44" fmla="*/ 226 w 248"/>
                <a:gd name="T45" fmla="*/ 192 h 246"/>
                <a:gd name="T46" fmla="*/ 192 w 248"/>
                <a:gd name="T47" fmla="*/ 226 h 246"/>
                <a:gd name="T48" fmla="*/ 160 w 248"/>
                <a:gd name="T49" fmla="*/ 242 h 246"/>
                <a:gd name="T50" fmla="*/ 136 w 248"/>
                <a:gd name="T51" fmla="*/ 246 h 246"/>
                <a:gd name="T52" fmla="*/ 124 w 248"/>
                <a:gd name="T53" fmla="*/ 246 h 246"/>
                <a:gd name="T54" fmla="*/ 124 w 248"/>
                <a:gd name="T55" fmla="*/ 16 h 246"/>
                <a:gd name="T56" fmla="*/ 82 w 248"/>
                <a:gd name="T57" fmla="*/ 24 h 246"/>
                <a:gd name="T58" fmla="*/ 48 w 248"/>
                <a:gd name="T59" fmla="*/ 48 h 246"/>
                <a:gd name="T60" fmla="*/ 26 w 248"/>
                <a:gd name="T61" fmla="*/ 82 h 246"/>
                <a:gd name="T62" fmla="*/ 16 w 248"/>
                <a:gd name="T63" fmla="*/ 124 h 246"/>
                <a:gd name="T64" fmla="*/ 18 w 248"/>
                <a:gd name="T65" fmla="*/ 146 h 246"/>
                <a:gd name="T66" fmla="*/ 36 w 248"/>
                <a:gd name="T67" fmla="*/ 184 h 246"/>
                <a:gd name="T68" fmla="*/ 64 w 248"/>
                <a:gd name="T69" fmla="*/ 212 h 246"/>
                <a:gd name="T70" fmla="*/ 102 w 248"/>
                <a:gd name="T71" fmla="*/ 228 h 246"/>
                <a:gd name="T72" fmla="*/ 124 w 248"/>
                <a:gd name="T73" fmla="*/ 230 h 246"/>
                <a:gd name="T74" fmla="*/ 166 w 248"/>
                <a:gd name="T75" fmla="*/ 222 h 246"/>
                <a:gd name="T76" fmla="*/ 200 w 248"/>
                <a:gd name="T77" fmla="*/ 200 h 246"/>
                <a:gd name="T78" fmla="*/ 222 w 248"/>
                <a:gd name="T79" fmla="*/ 166 h 246"/>
                <a:gd name="T80" fmla="*/ 232 w 248"/>
                <a:gd name="T81" fmla="*/ 124 h 246"/>
                <a:gd name="T82" fmla="*/ 230 w 248"/>
                <a:gd name="T83" fmla="*/ 102 h 246"/>
                <a:gd name="T84" fmla="*/ 212 w 248"/>
                <a:gd name="T85" fmla="*/ 64 h 246"/>
                <a:gd name="T86" fmla="*/ 184 w 248"/>
                <a:gd name="T87" fmla="*/ 34 h 246"/>
                <a:gd name="T88" fmla="*/ 146 w 248"/>
                <a:gd name="T89" fmla="*/ 18 h 246"/>
                <a:gd name="T90" fmla="*/ 124 w 248"/>
                <a:gd name="T91" fmla="*/ 1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 h="246">
                  <a:moveTo>
                    <a:pt x="124" y="246"/>
                  </a:moveTo>
                  <a:lnTo>
                    <a:pt x="124" y="246"/>
                  </a:lnTo>
                  <a:lnTo>
                    <a:pt x="112" y="246"/>
                  </a:lnTo>
                  <a:lnTo>
                    <a:pt x="100" y="244"/>
                  </a:lnTo>
                  <a:lnTo>
                    <a:pt x="88" y="242"/>
                  </a:lnTo>
                  <a:lnTo>
                    <a:pt x="76" y="238"/>
                  </a:lnTo>
                  <a:lnTo>
                    <a:pt x="56" y="226"/>
                  </a:lnTo>
                  <a:lnTo>
                    <a:pt x="36" y="210"/>
                  </a:lnTo>
                  <a:lnTo>
                    <a:pt x="22" y="192"/>
                  </a:lnTo>
                  <a:lnTo>
                    <a:pt x="10" y="172"/>
                  </a:lnTo>
                  <a:lnTo>
                    <a:pt x="6" y="160"/>
                  </a:lnTo>
                  <a:lnTo>
                    <a:pt x="4" y="148"/>
                  </a:lnTo>
                  <a:lnTo>
                    <a:pt x="2" y="136"/>
                  </a:lnTo>
                  <a:lnTo>
                    <a:pt x="0" y="124"/>
                  </a:lnTo>
                  <a:lnTo>
                    <a:pt x="0" y="124"/>
                  </a:lnTo>
                  <a:lnTo>
                    <a:pt x="2" y="110"/>
                  </a:lnTo>
                  <a:lnTo>
                    <a:pt x="4" y="98"/>
                  </a:lnTo>
                  <a:lnTo>
                    <a:pt x="6" y="86"/>
                  </a:lnTo>
                  <a:lnTo>
                    <a:pt x="10" y="76"/>
                  </a:lnTo>
                  <a:lnTo>
                    <a:pt x="22" y="54"/>
                  </a:lnTo>
                  <a:lnTo>
                    <a:pt x="36" y="36"/>
                  </a:lnTo>
                  <a:lnTo>
                    <a:pt x="56" y="22"/>
                  </a:lnTo>
                  <a:lnTo>
                    <a:pt x="76" y="10"/>
                  </a:lnTo>
                  <a:lnTo>
                    <a:pt x="88" y="6"/>
                  </a:lnTo>
                  <a:lnTo>
                    <a:pt x="100" y="2"/>
                  </a:lnTo>
                  <a:lnTo>
                    <a:pt x="112" y="0"/>
                  </a:lnTo>
                  <a:lnTo>
                    <a:pt x="124" y="0"/>
                  </a:lnTo>
                  <a:lnTo>
                    <a:pt x="124" y="0"/>
                  </a:lnTo>
                  <a:lnTo>
                    <a:pt x="136" y="0"/>
                  </a:lnTo>
                  <a:lnTo>
                    <a:pt x="148" y="2"/>
                  </a:lnTo>
                  <a:lnTo>
                    <a:pt x="160" y="6"/>
                  </a:lnTo>
                  <a:lnTo>
                    <a:pt x="172" y="10"/>
                  </a:lnTo>
                  <a:lnTo>
                    <a:pt x="192" y="22"/>
                  </a:lnTo>
                  <a:lnTo>
                    <a:pt x="212" y="36"/>
                  </a:lnTo>
                  <a:lnTo>
                    <a:pt x="226" y="54"/>
                  </a:lnTo>
                  <a:lnTo>
                    <a:pt x="238" y="76"/>
                  </a:lnTo>
                  <a:lnTo>
                    <a:pt x="242" y="86"/>
                  </a:lnTo>
                  <a:lnTo>
                    <a:pt x="244" y="98"/>
                  </a:lnTo>
                  <a:lnTo>
                    <a:pt x="246" y="110"/>
                  </a:lnTo>
                  <a:lnTo>
                    <a:pt x="248" y="124"/>
                  </a:lnTo>
                  <a:lnTo>
                    <a:pt x="248" y="124"/>
                  </a:lnTo>
                  <a:lnTo>
                    <a:pt x="246" y="136"/>
                  </a:lnTo>
                  <a:lnTo>
                    <a:pt x="244" y="148"/>
                  </a:lnTo>
                  <a:lnTo>
                    <a:pt x="242" y="160"/>
                  </a:lnTo>
                  <a:lnTo>
                    <a:pt x="238" y="172"/>
                  </a:lnTo>
                  <a:lnTo>
                    <a:pt x="226" y="192"/>
                  </a:lnTo>
                  <a:lnTo>
                    <a:pt x="212" y="210"/>
                  </a:lnTo>
                  <a:lnTo>
                    <a:pt x="192" y="226"/>
                  </a:lnTo>
                  <a:lnTo>
                    <a:pt x="172" y="238"/>
                  </a:lnTo>
                  <a:lnTo>
                    <a:pt x="160" y="242"/>
                  </a:lnTo>
                  <a:lnTo>
                    <a:pt x="148" y="244"/>
                  </a:lnTo>
                  <a:lnTo>
                    <a:pt x="136" y="246"/>
                  </a:lnTo>
                  <a:lnTo>
                    <a:pt x="124" y="246"/>
                  </a:lnTo>
                  <a:lnTo>
                    <a:pt x="124" y="246"/>
                  </a:lnTo>
                  <a:close/>
                  <a:moveTo>
                    <a:pt x="124" y="16"/>
                  </a:moveTo>
                  <a:lnTo>
                    <a:pt x="124" y="16"/>
                  </a:lnTo>
                  <a:lnTo>
                    <a:pt x="102" y="18"/>
                  </a:lnTo>
                  <a:lnTo>
                    <a:pt x="82" y="24"/>
                  </a:lnTo>
                  <a:lnTo>
                    <a:pt x="64" y="34"/>
                  </a:lnTo>
                  <a:lnTo>
                    <a:pt x="48" y="48"/>
                  </a:lnTo>
                  <a:lnTo>
                    <a:pt x="36" y="64"/>
                  </a:lnTo>
                  <a:lnTo>
                    <a:pt x="26" y="82"/>
                  </a:lnTo>
                  <a:lnTo>
                    <a:pt x="18" y="102"/>
                  </a:lnTo>
                  <a:lnTo>
                    <a:pt x="16" y="124"/>
                  </a:lnTo>
                  <a:lnTo>
                    <a:pt x="16" y="124"/>
                  </a:lnTo>
                  <a:lnTo>
                    <a:pt x="18" y="146"/>
                  </a:lnTo>
                  <a:lnTo>
                    <a:pt x="26" y="166"/>
                  </a:lnTo>
                  <a:lnTo>
                    <a:pt x="36" y="184"/>
                  </a:lnTo>
                  <a:lnTo>
                    <a:pt x="48" y="200"/>
                  </a:lnTo>
                  <a:lnTo>
                    <a:pt x="64" y="212"/>
                  </a:lnTo>
                  <a:lnTo>
                    <a:pt x="82" y="222"/>
                  </a:lnTo>
                  <a:lnTo>
                    <a:pt x="102" y="228"/>
                  </a:lnTo>
                  <a:lnTo>
                    <a:pt x="124" y="230"/>
                  </a:lnTo>
                  <a:lnTo>
                    <a:pt x="124" y="230"/>
                  </a:lnTo>
                  <a:lnTo>
                    <a:pt x="146" y="228"/>
                  </a:lnTo>
                  <a:lnTo>
                    <a:pt x="166" y="222"/>
                  </a:lnTo>
                  <a:lnTo>
                    <a:pt x="184" y="212"/>
                  </a:lnTo>
                  <a:lnTo>
                    <a:pt x="200" y="200"/>
                  </a:lnTo>
                  <a:lnTo>
                    <a:pt x="212" y="184"/>
                  </a:lnTo>
                  <a:lnTo>
                    <a:pt x="222" y="166"/>
                  </a:lnTo>
                  <a:lnTo>
                    <a:pt x="230" y="146"/>
                  </a:lnTo>
                  <a:lnTo>
                    <a:pt x="232" y="124"/>
                  </a:lnTo>
                  <a:lnTo>
                    <a:pt x="232" y="124"/>
                  </a:lnTo>
                  <a:lnTo>
                    <a:pt x="230" y="102"/>
                  </a:lnTo>
                  <a:lnTo>
                    <a:pt x="222" y="82"/>
                  </a:lnTo>
                  <a:lnTo>
                    <a:pt x="212" y="64"/>
                  </a:lnTo>
                  <a:lnTo>
                    <a:pt x="200" y="48"/>
                  </a:lnTo>
                  <a:lnTo>
                    <a:pt x="184" y="34"/>
                  </a:lnTo>
                  <a:lnTo>
                    <a:pt x="166" y="24"/>
                  </a:lnTo>
                  <a:lnTo>
                    <a:pt x="146" y="18"/>
                  </a:lnTo>
                  <a:lnTo>
                    <a:pt x="124" y="16"/>
                  </a:lnTo>
                  <a:lnTo>
                    <a:pt x="124" y="16"/>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24" name="Freeform 66"/>
            <p:cNvSpPr>
              <a:spLocks noEditPoints="1"/>
            </p:cNvSpPr>
            <p:nvPr/>
          </p:nvSpPr>
          <p:spPr bwMode="auto">
            <a:xfrm>
              <a:off x="1943100" y="4572000"/>
              <a:ext cx="323850" cy="323850"/>
            </a:xfrm>
            <a:custGeom>
              <a:avLst/>
              <a:gdLst>
                <a:gd name="T0" fmla="*/ 102 w 204"/>
                <a:gd name="T1" fmla="*/ 204 h 204"/>
                <a:gd name="T2" fmla="*/ 64 w 204"/>
                <a:gd name="T3" fmla="*/ 196 h 204"/>
                <a:gd name="T4" fmla="*/ 30 w 204"/>
                <a:gd name="T5" fmla="*/ 174 h 204"/>
                <a:gd name="T6" fmla="*/ 8 w 204"/>
                <a:gd name="T7" fmla="*/ 140 h 204"/>
                <a:gd name="T8" fmla="*/ 0 w 204"/>
                <a:gd name="T9" fmla="*/ 102 h 204"/>
                <a:gd name="T10" fmla="*/ 2 w 204"/>
                <a:gd name="T11" fmla="*/ 80 h 204"/>
                <a:gd name="T12" fmla="*/ 18 w 204"/>
                <a:gd name="T13" fmla="*/ 44 h 204"/>
                <a:gd name="T14" fmla="*/ 46 w 204"/>
                <a:gd name="T15" fmla="*/ 16 h 204"/>
                <a:gd name="T16" fmla="*/ 82 w 204"/>
                <a:gd name="T17" fmla="*/ 2 h 204"/>
                <a:gd name="T18" fmla="*/ 102 w 204"/>
                <a:gd name="T19" fmla="*/ 0 h 204"/>
                <a:gd name="T20" fmla="*/ 142 w 204"/>
                <a:gd name="T21" fmla="*/ 8 h 204"/>
                <a:gd name="T22" fmla="*/ 174 w 204"/>
                <a:gd name="T23" fmla="*/ 30 h 204"/>
                <a:gd name="T24" fmla="*/ 196 w 204"/>
                <a:gd name="T25" fmla="*/ 62 h 204"/>
                <a:gd name="T26" fmla="*/ 204 w 204"/>
                <a:gd name="T27" fmla="*/ 102 h 204"/>
                <a:gd name="T28" fmla="*/ 202 w 204"/>
                <a:gd name="T29" fmla="*/ 122 h 204"/>
                <a:gd name="T30" fmla="*/ 188 w 204"/>
                <a:gd name="T31" fmla="*/ 158 h 204"/>
                <a:gd name="T32" fmla="*/ 160 w 204"/>
                <a:gd name="T33" fmla="*/ 186 h 204"/>
                <a:gd name="T34" fmla="*/ 124 w 204"/>
                <a:gd name="T35" fmla="*/ 200 h 204"/>
                <a:gd name="T36" fmla="*/ 102 w 204"/>
                <a:gd name="T37" fmla="*/ 204 h 204"/>
                <a:gd name="T38" fmla="*/ 102 w 204"/>
                <a:gd name="T39" fmla="*/ 14 h 204"/>
                <a:gd name="T40" fmla="*/ 68 w 204"/>
                <a:gd name="T41" fmla="*/ 22 h 204"/>
                <a:gd name="T42" fmla="*/ 42 w 204"/>
                <a:gd name="T43" fmla="*/ 40 h 204"/>
                <a:gd name="T44" fmla="*/ 22 w 204"/>
                <a:gd name="T45" fmla="*/ 68 h 204"/>
                <a:gd name="T46" fmla="*/ 16 w 204"/>
                <a:gd name="T47" fmla="*/ 102 h 204"/>
                <a:gd name="T48" fmla="*/ 18 w 204"/>
                <a:gd name="T49" fmla="*/ 118 h 204"/>
                <a:gd name="T50" fmla="*/ 30 w 204"/>
                <a:gd name="T51" fmla="*/ 150 h 204"/>
                <a:gd name="T52" fmla="*/ 54 w 204"/>
                <a:gd name="T53" fmla="*/ 172 h 204"/>
                <a:gd name="T54" fmla="*/ 86 w 204"/>
                <a:gd name="T55" fmla="*/ 186 h 204"/>
                <a:gd name="T56" fmla="*/ 102 w 204"/>
                <a:gd name="T57" fmla="*/ 188 h 204"/>
                <a:gd name="T58" fmla="*/ 136 w 204"/>
                <a:gd name="T59" fmla="*/ 180 h 204"/>
                <a:gd name="T60" fmla="*/ 164 w 204"/>
                <a:gd name="T61" fmla="*/ 162 h 204"/>
                <a:gd name="T62" fmla="*/ 182 w 204"/>
                <a:gd name="T63" fmla="*/ 134 h 204"/>
                <a:gd name="T64" fmla="*/ 190 w 204"/>
                <a:gd name="T65" fmla="*/ 102 h 204"/>
                <a:gd name="T66" fmla="*/ 188 w 204"/>
                <a:gd name="T67" fmla="*/ 84 h 204"/>
                <a:gd name="T68" fmla="*/ 174 w 204"/>
                <a:gd name="T69" fmla="*/ 52 h 204"/>
                <a:gd name="T70" fmla="*/ 150 w 204"/>
                <a:gd name="T71" fmla="*/ 30 h 204"/>
                <a:gd name="T72" fmla="*/ 120 w 204"/>
                <a:gd name="T73" fmla="*/ 16 h 204"/>
                <a:gd name="T74" fmla="*/ 102 w 204"/>
                <a:gd name="T75" fmla="*/ 1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4" h="204">
                  <a:moveTo>
                    <a:pt x="102" y="204"/>
                  </a:moveTo>
                  <a:lnTo>
                    <a:pt x="102" y="204"/>
                  </a:lnTo>
                  <a:lnTo>
                    <a:pt x="82" y="200"/>
                  </a:lnTo>
                  <a:lnTo>
                    <a:pt x="64" y="196"/>
                  </a:lnTo>
                  <a:lnTo>
                    <a:pt x="46" y="186"/>
                  </a:lnTo>
                  <a:lnTo>
                    <a:pt x="30" y="174"/>
                  </a:lnTo>
                  <a:lnTo>
                    <a:pt x="18" y="158"/>
                  </a:lnTo>
                  <a:lnTo>
                    <a:pt x="8" y="140"/>
                  </a:lnTo>
                  <a:lnTo>
                    <a:pt x="2" y="122"/>
                  </a:lnTo>
                  <a:lnTo>
                    <a:pt x="0" y="102"/>
                  </a:lnTo>
                  <a:lnTo>
                    <a:pt x="0" y="102"/>
                  </a:lnTo>
                  <a:lnTo>
                    <a:pt x="2" y="80"/>
                  </a:lnTo>
                  <a:lnTo>
                    <a:pt x="8" y="62"/>
                  </a:lnTo>
                  <a:lnTo>
                    <a:pt x="18" y="44"/>
                  </a:lnTo>
                  <a:lnTo>
                    <a:pt x="30" y="30"/>
                  </a:lnTo>
                  <a:lnTo>
                    <a:pt x="46" y="16"/>
                  </a:lnTo>
                  <a:lnTo>
                    <a:pt x="64" y="8"/>
                  </a:lnTo>
                  <a:lnTo>
                    <a:pt x="82" y="2"/>
                  </a:lnTo>
                  <a:lnTo>
                    <a:pt x="102" y="0"/>
                  </a:lnTo>
                  <a:lnTo>
                    <a:pt x="102" y="0"/>
                  </a:lnTo>
                  <a:lnTo>
                    <a:pt x="124" y="2"/>
                  </a:lnTo>
                  <a:lnTo>
                    <a:pt x="142" y="8"/>
                  </a:lnTo>
                  <a:lnTo>
                    <a:pt x="160" y="16"/>
                  </a:lnTo>
                  <a:lnTo>
                    <a:pt x="174" y="30"/>
                  </a:lnTo>
                  <a:lnTo>
                    <a:pt x="188" y="44"/>
                  </a:lnTo>
                  <a:lnTo>
                    <a:pt x="196" y="62"/>
                  </a:lnTo>
                  <a:lnTo>
                    <a:pt x="202" y="80"/>
                  </a:lnTo>
                  <a:lnTo>
                    <a:pt x="204" y="102"/>
                  </a:lnTo>
                  <a:lnTo>
                    <a:pt x="204" y="102"/>
                  </a:lnTo>
                  <a:lnTo>
                    <a:pt x="202" y="122"/>
                  </a:lnTo>
                  <a:lnTo>
                    <a:pt x="196" y="140"/>
                  </a:lnTo>
                  <a:lnTo>
                    <a:pt x="188" y="158"/>
                  </a:lnTo>
                  <a:lnTo>
                    <a:pt x="174" y="174"/>
                  </a:lnTo>
                  <a:lnTo>
                    <a:pt x="160" y="186"/>
                  </a:lnTo>
                  <a:lnTo>
                    <a:pt x="142" y="196"/>
                  </a:lnTo>
                  <a:lnTo>
                    <a:pt x="124" y="200"/>
                  </a:lnTo>
                  <a:lnTo>
                    <a:pt x="102" y="204"/>
                  </a:lnTo>
                  <a:lnTo>
                    <a:pt x="102" y="204"/>
                  </a:lnTo>
                  <a:close/>
                  <a:moveTo>
                    <a:pt x="102" y="14"/>
                  </a:moveTo>
                  <a:lnTo>
                    <a:pt x="102" y="14"/>
                  </a:lnTo>
                  <a:lnTo>
                    <a:pt x="86" y="16"/>
                  </a:lnTo>
                  <a:lnTo>
                    <a:pt x="68" y="22"/>
                  </a:lnTo>
                  <a:lnTo>
                    <a:pt x="54" y="30"/>
                  </a:lnTo>
                  <a:lnTo>
                    <a:pt x="42" y="40"/>
                  </a:lnTo>
                  <a:lnTo>
                    <a:pt x="30" y="52"/>
                  </a:lnTo>
                  <a:lnTo>
                    <a:pt x="22" y="68"/>
                  </a:lnTo>
                  <a:lnTo>
                    <a:pt x="18" y="84"/>
                  </a:lnTo>
                  <a:lnTo>
                    <a:pt x="16" y="102"/>
                  </a:lnTo>
                  <a:lnTo>
                    <a:pt x="16" y="102"/>
                  </a:lnTo>
                  <a:lnTo>
                    <a:pt x="18" y="118"/>
                  </a:lnTo>
                  <a:lnTo>
                    <a:pt x="22" y="134"/>
                  </a:lnTo>
                  <a:lnTo>
                    <a:pt x="30" y="150"/>
                  </a:lnTo>
                  <a:lnTo>
                    <a:pt x="42" y="162"/>
                  </a:lnTo>
                  <a:lnTo>
                    <a:pt x="54" y="172"/>
                  </a:lnTo>
                  <a:lnTo>
                    <a:pt x="68" y="180"/>
                  </a:lnTo>
                  <a:lnTo>
                    <a:pt x="86" y="186"/>
                  </a:lnTo>
                  <a:lnTo>
                    <a:pt x="102" y="188"/>
                  </a:lnTo>
                  <a:lnTo>
                    <a:pt x="102" y="188"/>
                  </a:lnTo>
                  <a:lnTo>
                    <a:pt x="120" y="186"/>
                  </a:lnTo>
                  <a:lnTo>
                    <a:pt x="136" y="180"/>
                  </a:lnTo>
                  <a:lnTo>
                    <a:pt x="150" y="172"/>
                  </a:lnTo>
                  <a:lnTo>
                    <a:pt x="164" y="162"/>
                  </a:lnTo>
                  <a:lnTo>
                    <a:pt x="174" y="150"/>
                  </a:lnTo>
                  <a:lnTo>
                    <a:pt x="182" y="134"/>
                  </a:lnTo>
                  <a:lnTo>
                    <a:pt x="188" y="118"/>
                  </a:lnTo>
                  <a:lnTo>
                    <a:pt x="190" y="102"/>
                  </a:lnTo>
                  <a:lnTo>
                    <a:pt x="190" y="102"/>
                  </a:lnTo>
                  <a:lnTo>
                    <a:pt x="188" y="84"/>
                  </a:lnTo>
                  <a:lnTo>
                    <a:pt x="182" y="68"/>
                  </a:lnTo>
                  <a:lnTo>
                    <a:pt x="174" y="52"/>
                  </a:lnTo>
                  <a:lnTo>
                    <a:pt x="164" y="40"/>
                  </a:lnTo>
                  <a:lnTo>
                    <a:pt x="150" y="30"/>
                  </a:lnTo>
                  <a:lnTo>
                    <a:pt x="136" y="22"/>
                  </a:lnTo>
                  <a:lnTo>
                    <a:pt x="120" y="16"/>
                  </a:lnTo>
                  <a:lnTo>
                    <a:pt x="102" y="14"/>
                  </a:lnTo>
                  <a:lnTo>
                    <a:pt x="102" y="14"/>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25" name="Freeform 68"/>
            <p:cNvSpPr>
              <a:spLocks/>
            </p:cNvSpPr>
            <p:nvPr/>
          </p:nvSpPr>
          <p:spPr bwMode="auto">
            <a:xfrm>
              <a:off x="2095500" y="4873625"/>
              <a:ext cx="260350" cy="571500"/>
            </a:xfrm>
            <a:custGeom>
              <a:avLst/>
              <a:gdLst>
                <a:gd name="T0" fmla="*/ 162 w 164"/>
                <a:gd name="T1" fmla="*/ 360 h 360"/>
                <a:gd name="T2" fmla="*/ 162 w 164"/>
                <a:gd name="T3" fmla="*/ 360 h 360"/>
                <a:gd name="T4" fmla="*/ 130 w 164"/>
                <a:gd name="T5" fmla="*/ 324 h 360"/>
                <a:gd name="T6" fmla="*/ 98 w 164"/>
                <a:gd name="T7" fmla="*/ 286 h 360"/>
                <a:gd name="T8" fmla="*/ 72 w 164"/>
                <a:gd name="T9" fmla="*/ 246 h 360"/>
                <a:gd name="T10" fmla="*/ 50 w 164"/>
                <a:gd name="T11" fmla="*/ 202 h 360"/>
                <a:gd name="T12" fmla="*/ 30 w 164"/>
                <a:gd name="T13" fmla="*/ 156 h 360"/>
                <a:gd name="T14" fmla="*/ 16 w 164"/>
                <a:gd name="T15" fmla="*/ 110 h 360"/>
                <a:gd name="T16" fmla="*/ 10 w 164"/>
                <a:gd name="T17" fmla="*/ 84 h 360"/>
                <a:gd name="T18" fmla="*/ 4 w 164"/>
                <a:gd name="T19" fmla="*/ 60 h 360"/>
                <a:gd name="T20" fmla="*/ 2 w 164"/>
                <a:gd name="T21" fmla="*/ 34 h 360"/>
                <a:gd name="T22" fmla="*/ 0 w 164"/>
                <a:gd name="T23" fmla="*/ 8 h 360"/>
                <a:gd name="T24" fmla="*/ 0 w 164"/>
                <a:gd name="T25" fmla="*/ 8 h 360"/>
                <a:gd name="T26" fmla="*/ 0 w 164"/>
                <a:gd name="T27" fmla="*/ 6 h 360"/>
                <a:gd name="T28" fmla="*/ 2 w 164"/>
                <a:gd name="T29" fmla="*/ 4 h 360"/>
                <a:gd name="T30" fmla="*/ 4 w 164"/>
                <a:gd name="T31" fmla="*/ 2 h 360"/>
                <a:gd name="T32" fmla="*/ 6 w 164"/>
                <a:gd name="T33" fmla="*/ 0 h 360"/>
                <a:gd name="T34" fmla="*/ 6 w 164"/>
                <a:gd name="T35" fmla="*/ 0 h 360"/>
                <a:gd name="T36" fmla="*/ 10 w 164"/>
                <a:gd name="T37" fmla="*/ 2 h 360"/>
                <a:gd name="T38" fmla="*/ 12 w 164"/>
                <a:gd name="T39" fmla="*/ 2 h 360"/>
                <a:gd name="T40" fmla="*/ 14 w 164"/>
                <a:gd name="T41" fmla="*/ 8 h 360"/>
                <a:gd name="T42" fmla="*/ 14 w 164"/>
                <a:gd name="T43" fmla="*/ 8 h 360"/>
                <a:gd name="T44" fmla="*/ 20 w 164"/>
                <a:gd name="T45" fmla="*/ 56 h 360"/>
                <a:gd name="T46" fmla="*/ 30 w 164"/>
                <a:gd name="T47" fmla="*/ 102 h 360"/>
                <a:gd name="T48" fmla="*/ 42 w 164"/>
                <a:gd name="T49" fmla="*/ 146 h 360"/>
                <a:gd name="T50" fmla="*/ 60 w 164"/>
                <a:gd name="T51" fmla="*/ 190 h 360"/>
                <a:gd name="T52" fmla="*/ 82 w 164"/>
                <a:gd name="T53" fmla="*/ 230 h 360"/>
                <a:gd name="T54" fmla="*/ 106 w 164"/>
                <a:gd name="T55" fmla="*/ 270 h 360"/>
                <a:gd name="T56" fmla="*/ 134 w 164"/>
                <a:gd name="T57" fmla="*/ 306 h 360"/>
                <a:gd name="T58" fmla="*/ 164 w 164"/>
                <a:gd name="T59" fmla="*/ 340 h 360"/>
                <a:gd name="T60" fmla="*/ 162 w 164"/>
                <a:gd name="T61" fmla="*/ 3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4" h="360">
                  <a:moveTo>
                    <a:pt x="162" y="360"/>
                  </a:moveTo>
                  <a:lnTo>
                    <a:pt x="162" y="360"/>
                  </a:lnTo>
                  <a:lnTo>
                    <a:pt x="130" y="324"/>
                  </a:lnTo>
                  <a:lnTo>
                    <a:pt x="98" y="286"/>
                  </a:lnTo>
                  <a:lnTo>
                    <a:pt x="72" y="246"/>
                  </a:lnTo>
                  <a:lnTo>
                    <a:pt x="50" y="202"/>
                  </a:lnTo>
                  <a:lnTo>
                    <a:pt x="30" y="156"/>
                  </a:lnTo>
                  <a:lnTo>
                    <a:pt x="16" y="110"/>
                  </a:lnTo>
                  <a:lnTo>
                    <a:pt x="10" y="84"/>
                  </a:lnTo>
                  <a:lnTo>
                    <a:pt x="4" y="60"/>
                  </a:lnTo>
                  <a:lnTo>
                    <a:pt x="2" y="34"/>
                  </a:lnTo>
                  <a:lnTo>
                    <a:pt x="0" y="8"/>
                  </a:lnTo>
                  <a:lnTo>
                    <a:pt x="0" y="8"/>
                  </a:lnTo>
                  <a:lnTo>
                    <a:pt x="0" y="6"/>
                  </a:lnTo>
                  <a:lnTo>
                    <a:pt x="2" y="4"/>
                  </a:lnTo>
                  <a:lnTo>
                    <a:pt x="4" y="2"/>
                  </a:lnTo>
                  <a:lnTo>
                    <a:pt x="6" y="0"/>
                  </a:lnTo>
                  <a:lnTo>
                    <a:pt x="6" y="0"/>
                  </a:lnTo>
                  <a:lnTo>
                    <a:pt x="10" y="2"/>
                  </a:lnTo>
                  <a:lnTo>
                    <a:pt x="12" y="2"/>
                  </a:lnTo>
                  <a:lnTo>
                    <a:pt x="14" y="8"/>
                  </a:lnTo>
                  <a:lnTo>
                    <a:pt x="14" y="8"/>
                  </a:lnTo>
                  <a:lnTo>
                    <a:pt x="20" y="56"/>
                  </a:lnTo>
                  <a:lnTo>
                    <a:pt x="30" y="102"/>
                  </a:lnTo>
                  <a:lnTo>
                    <a:pt x="42" y="146"/>
                  </a:lnTo>
                  <a:lnTo>
                    <a:pt x="60" y="190"/>
                  </a:lnTo>
                  <a:lnTo>
                    <a:pt x="82" y="230"/>
                  </a:lnTo>
                  <a:lnTo>
                    <a:pt x="106" y="270"/>
                  </a:lnTo>
                  <a:lnTo>
                    <a:pt x="134" y="306"/>
                  </a:lnTo>
                  <a:lnTo>
                    <a:pt x="164" y="340"/>
                  </a:lnTo>
                  <a:lnTo>
                    <a:pt x="162" y="360"/>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26" name="Freeform 69"/>
            <p:cNvSpPr>
              <a:spLocks/>
            </p:cNvSpPr>
            <p:nvPr/>
          </p:nvSpPr>
          <p:spPr bwMode="auto">
            <a:xfrm>
              <a:off x="2317750" y="4429125"/>
              <a:ext cx="161925" cy="688975"/>
            </a:xfrm>
            <a:custGeom>
              <a:avLst/>
              <a:gdLst>
                <a:gd name="T0" fmla="*/ 66 w 102"/>
                <a:gd name="T1" fmla="*/ 428 h 434"/>
                <a:gd name="T2" fmla="*/ 66 w 102"/>
                <a:gd name="T3" fmla="*/ 428 h 434"/>
                <a:gd name="T4" fmla="*/ 54 w 102"/>
                <a:gd name="T5" fmla="*/ 408 h 434"/>
                <a:gd name="T6" fmla="*/ 44 w 102"/>
                <a:gd name="T7" fmla="*/ 386 h 434"/>
                <a:gd name="T8" fmla="*/ 36 w 102"/>
                <a:gd name="T9" fmla="*/ 364 h 434"/>
                <a:gd name="T10" fmla="*/ 28 w 102"/>
                <a:gd name="T11" fmla="*/ 342 h 434"/>
                <a:gd name="T12" fmla="*/ 22 w 102"/>
                <a:gd name="T13" fmla="*/ 318 h 434"/>
                <a:gd name="T14" fmla="*/ 18 w 102"/>
                <a:gd name="T15" fmla="*/ 294 h 434"/>
                <a:gd name="T16" fmla="*/ 16 w 102"/>
                <a:gd name="T17" fmla="*/ 270 h 434"/>
                <a:gd name="T18" fmla="*/ 14 w 102"/>
                <a:gd name="T19" fmla="*/ 244 h 434"/>
                <a:gd name="T20" fmla="*/ 14 w 102"/>
                <a:gd name="T21" fmla="*/ 244 h 434"/>
                <a:gd name="T22" fmla="*/ 16 w 102"/>
                <a:gd name="T23" fmla="*/ 212 h 434"/>
                <a:gd name="T24" fmla="*/ 20 w 102"/>
                <a:gd name="T25" fmla="*/ 182 h 434"/>
                <a:gd name="T26" fmla="*/ 28 w 102"/>
                <a:gd name="T27" fmla="*/ 150 h 434"/>
                <a:gd name="T28" fmla="*/ 36 w 102"/>
                <a:gd name="T29" fmla="*/ 120 h 434"/>
                <a:gd name="T30" fmla="*/ 48 w 102"/>
                <a:gd name="T31" fmla="*/ 92 h 434"/>
                <a:gd name="T32" fmla="*/ 64 w 102"/>
                <a:gd name="T33" fmla="*/ 64 h 434"/>
                <a:gd name="T34" fmla="*/ 80 w 102"/>
                <a:gd name="T35" fmla="*/ 38 h 434"/>
                <a:gd name="T36" fmla="*/ 100 w 102"/>
                <a:gd name="T37" fmla="*/ 12 h 434"/>
                <a:gd name="T38" fmla="*/ 100 w 102"/>
                <a:gd name="T39" fmla="*/ 12 h 434"/>
                <a:gd name="T40" fmla="*/ 102 w 102"/>
                <a:gd name="T41" fmla="*/ 10 h 434"/>
                <a:gd name="T42" fmla="*/ 102 w 102"/>
                <a:gd name="T43" fmla="*/ 6 h 434"/>
                <a:gd name="T44" fmla="*/ 100 w 102"/>
                <a:gd name="T45" fmla="*/ 4 h 434"/>
                <a:gd name="T46" fmla="*/ 100 w 102"/>
                <a:gd name="T47" fmla="*/ 2 h 434"/>
                <a:gd name="T48" fmla="*/ 100 w 102"/>
                <a:gd name="T49" fmla="*/ 2 h 434"/>
                <a:gd name="T50" fmla="*/ 96 w 102"/>
                <a:gd name="T51" fmla="*/ 0 h 434"/>
                <a:gd name="T52" fmla="*/ 94 w 102"/>
                <a:gd name="T53" fmla="*/ 0 h 434"/>
                <a:gd name="T54" fmla="*/ 90 w 102"/>
                <a:gd name="T55" fmla="*/ 0 h 434"/>
                <a:gd name="T56" fmla="*/ 88 w 102"/>
                <a:gd name="T57" fmla="*/ 2 h 434"/>
                <a:gd name="T58" fmla="*/ 88 w 102"/>
                <a:gd name="T59" fmla="*/ 2 h 434"/>
                <a:gd name="T60" fmla="*/ 68 w 102"/>
                <a:gd name="T61" fmla="*/ 28 h 434"/>
                <a:gd name="T62" fmla="*/ 50 w 102"/>
                <a:gd name="T63" fmla="*/ 56 h 434"/>
                <a:gd name="T64" fmla="*/ 34 w 102"/>
                <a:gd name="T65" fmla="*/ 86 h 434"/>
                <a:gd name="T66" fmla="*/ 22 w 102"/>
                <a:gd name="T67" fmla="*/ 116 h 434"/>
                <a:gd name="T68" fmla="*/ 12 w 102"/>
                <a:gd name="T69" fmla="*/ 146 h 434"/>
                <a:gd name="T70" fmla="*/ 6 w 102"/>
                <a:gd name="T71" fmla="*/ 178 h 434"/>
                <a:gd name="T72" fmla="*/ 0 w 102"/>
                <a:gd name="T73" fmla="*/ 212 h 434"/>
                <a:gd name="T74" fmla="*/ 0 w 102"/>
                <a:gd name="T75" fmla="*/ 244 h 434"/>
                <a:gd name="T76" fmla="*/ 0 w 102"/>
                <a:gd name="T77" fmla="*/ 244 h 434"/>
                <a:gd name="T78" fmla="*/ 0 w 102"/>
                <a:gd name="T79" fmla="*/ 270 h 434"/>
                <a:gd name="T80" fmla="*/ 2 w 102"/>
                <a:gd name="T81" fmla="*/ 294 h 434"/>
                <a:gd name="T82" fmla="*/ 8 w 102"/>
                <a:gd name="T83" fmla="*/ 320 h 434"/>
                <a:gd name="T84" fmla="*/ 12 w 102"/>
                <a:gd name="T85" fmla="*/ 344 h 434"/>
                <a:gd name="T86" fmla="*/ 20 w 102"/>
                <a:gd name="T87" fmla="*/ 368 h 434"/>
                <a:gd name="T88" fmla="*/ 30 w 102"/>
                <a:gd name="T89" fmla="*/ 390 h 434"/>
                <a:gd name="T90" fmla="*/ 40 w 102"/>
                <a:gd name="T91" fmla="*/ 412 h 434"/>
                <a:gd name="T92" fmla="*/ 52 w 102"/>
                <a:gd name="T93" fmla="*/ 434 h 434"/>
                <a:gd name="T94" fmla="*/ 66 w 102"/>
                <a:gd name="T95" fmla="*/ 428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2" h="434">
                  <a:moveTo>
                    <a:pt x="66" y="428"/>
                  </a:moveTo>
                  <a:lnTo>
                    <a:pt x="66" y="428"/>
                  </a:lnTo>
                  <a:lnTo>
                    <a:pt x="54" y="408"/>
                  </a:lnTo>
                  <a:lnTo>
                    <a:pt x="44" y="386"/>
                  </a:lnTo>
                  <a:lnTo>
                    <a:pt x="36" y="364"/>
                  </a:lnTo>
                  <a:lnTo>
                    <a:pt x="28" y="342"/>
                  </a:lnTo>
                  <a:lnTo>
                    <a:pt x="22" y="318"/>
                  </a:lnTo>
                  <a:lnTo>
                    <a:pt x="18" y="294"/>
                  </a:lnTo>
                  <a:lnTo>
                    <a:pt x="16" y="270"/>
                  </a:lnTo>
                  <a:lnTo>
                    <a:pt x="14" y="244"/>
                  </a:lnTo>
                  <a:lnTo>
                    <a:pt x="14" y="244"/>
                  </a:lnTo>
                  <a:lnTo>
                    <a:pt x="16" y="212"/>
                  </a:lnTo>
                  <a:lnTo>
                    <a:pt x="20" y="182"/>
                  </a:lnTo>
                  <a:lnTo>
                    <a:pt x="28" y="150"/>
                  </a:lnTo>
                  <a:lnTo>
                    <a:pt x="36" y="120"/>
                  </a:lnTo>
                  <a:lnTo>
                    <a:pt x="48" y="92"/>
                  </a:lnTo>
                  <a:lnTo>
                    <a:pt x="64" y="64"/>
                  </a:lnTo>
                  <a:lnTo>
                    <a:pt x="80" y="38"/>
                  </a:lnTo>
                  <a:lnTo>
                    <a:pt x="100" y="12"/>
                  </a:lnTo>
                  <a:lnTo>
                    <a:pt x="100" y="12"/>
                  </a:lnTo>
                  <a:lnTo>
                    <a:pt x="102" y="10"/>
                  </a:lnTo>
                  <a:lnTo>
                    <a:pt x="102" y="6"/>
                  </a:lnTo>
                  <a:lnTo>
                    <a:pt x="100" y="4"/>
                  </a:lnTo>
                  <a:lnTo>
                    <a:pt x="100" y="2"/>
                  </a:lnTo>
                  <a:lnTo>
                    <a:pt x="100" y="2"/>
                  </a:lnTo>
                  <a:lnTo>
                    <a:pt x="96" y="0"/>
                  </a:lnTo>
                  <a:lnTo>
                    <a:pt x="94" y="0"/>
                  </a:lnTo>
                  <a:lnTo>
                    <a:pt x="90" y="0"/>
                  </a:lnTo>
                  <a:lnTo>
                    <a:pt x="88" y="2"/>
                  </a:lnTo>
                  <a:lnTo>
                    <a:pt x="88" y="2"/>
                  </a:lnTo>
                  <a:lnTo>
                    <a:pt x="68" y="28"/>
                  </a:lnTo>
                  <a:lnTo>
                    <a:pt x="50" y="56"/>
                  </a:lnTo>
                  <a:lnTo>
                    <a:pt x="34" y="86"/>
                  </a:lnTo>
                  <a:lnTo>
                    <a:pt x="22" y="116"/>
                  </a:lnTo>
                  <a:lnTo>
                    <a:pt x="12" y="146"/>
                  </a:lnTo>
                  <a:lnTo>
                    <a:pt x="6" y="178"/>
                  </a:lnTo>
                  <a:lnTo>
                    <a:pt x="0" y="212"/>
                  </a:lnTo>
                  <a:lnTo>
                    <a:pt x="0" y="244"/>
                  </a:lnTo>
                  <a:lnTo>
                    <a:pt x="0" y="244"/>
                  </a:lnTo>
                  <a:lnTo>
                    <a:pt x="0" y="270"/>
                  </a:lnTo>
                  <a:lnTo>
                    <a:pt x="2" y="294"/>
                  </a:lnTo>
                  <a:lnTo>
                    <a:pt x="8" y="320"/>
                  </a:lnTo>
                  <a:lnTo>
                    <a:pt x="12" y="344"/>
                  </a:lnTo>
                  <a:lnTo>
                    <a:pt x="20" y="368"/>
                  </a:lnTo>
                  <a:lnTo>
                    <a:pt x="30" y="390"/>
                  </a:lnTo>
                  <a:lnTo>
                    <a:pt x="40" y="412"/>
                  </a:lnTo>
                  <a:lnTo>
                    <a:pt x="52" y="434"/>
                  </a:lnTo>
                  <a:lnTo>
                    <a:pt x="66" y="428"/>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27" name="Freeform 70"/>
            <p:cNvSpPr>
              <a:spLocks noEditPoints="1"/>
            </p:cNvSpPr>
            <p:nvPr/>
          </p:nvSpPr>
          <p:spPr bwMode="auto">
            <a:xfrm>
              <a:off x="3609975" y="5127625"/>
              <a:ext cx="152400" cy="152400"/>
            </a:xfrm>
            <a:custGeom>
              <a:avLst/>
              <a:gdLst>
                <a:gd name="T0" fmla="*/ 48 w 96"/>
                <a:gd name="T1" fmla="*/ 96 h 96"/>
                <a:gd name="T2" fmla="*/ 30 w 96"/>
                <a:gd name="T3" fmla="*/ 92 h 96"/>
                <a:gd name="T4" fmla="*/ 14 w 96"/>
                <a:gd name="T5" fmla="*/ 82 h 96"/>
                <a:gd name="T6" fmla="*/ 4 w 96"/>
                <a:gd name="T7" fmla="*/ 66 h 96"/>
                <a:gd name="T8" fmla="*/ 0 w 96"/>
                <a:gd name="T9" fmla="*/ 48 h 96"/>
                <a:gd name="T10" fmla="*/ 0 w 96"/>
                <a:gd name="T11" fmla="*/ 38 h 96"/>
                <a:gd name="T12" fmla="*/ 8 w 96"/>
                <a:gd name="T13" fmla="*/ 20 h 96"/>
                <a:gd name="T14" fmla="*/ 22 w 96"/>
                <a:gd name="T15" fmla="*/ 8 h 96"/>
                <a:gd name="T16" fmla="*/ 38 w 96"/>
                <a:gd name="T17" fmla="*/ 0 h 96"/>
                <a:gd name="T18" fmla="*/ 48 w 96"/>
                <a:gd name="T19" fmla="*/ 0 h 96"/>
                <a:gd name="T20" fmla="*/ 66 w 96"/>
                <a:gd name="T21" fmla="*/ 4 h 96"/>
                <a:gd name="T22" fmla="*/ 82 w 96"/>
                <a:gd name="T23" fmla="*/ 14 h 96"/>
                <a:gd name="T24" fmla="*/ 92 w 96"/>
                <a:gd name="T25" fmla="*/ 28 h 96"/>
                <a:gd name="T26" fmla="*/ 96 w 96"/>
                <a:gd name="T27" fmla="*/ 48 h 96"/>
                <a:gd name="T28" fmla="*/ 96 w 96"/>
                <a:gd name="T29" fmla="*/ 58 h 96"/>
                <a:gd name="T30" fmla="*/ 88 w 96"/>
                <a:gd name="T31" fmla="*/ 74 h 96"/>
                <a:gd name="T32" fmla="*/ 76 w 96"/>
                <a:gd name="T33" fmla="*/ 88 h 96"/>
                <a:gd name="T34" fmla="*/ 58 w 96"/>
                <a:gd name="T35" fmla="*/ 94 h 96"/>
                <a:gd name="T36" fmla="*/ 48 w 96"/>
                <a:gd name="T37" fmla="*/ 96 h 96"/>
                <a:gd name="T38" fmla="*/ 48 w 96"/>
                <a:gd name="T39" fmla="*/ 14 h 96"/>
                <a:gd name="T40" fmla="*/ 36 w 96"/>
                <a:gd name="T41" fmla="*/ 18 h 96"/>
                <a:gd name="T42" fmla="*/ 24 w 96"/>
                <a:gd name="T43" fmla="*/ 24 h 96"/>
                <a:gd name="T44" fmla="*/ 18 w 96"/>
                <a:gd name="T45" fmla="*/ 34 h 96"/>
                <a:gd name="T46" fmla="*/ 16 w 96"/>
                <a:gd name="T47" fmla="*/ 48 h 96"/>
                <a:gd name="T48" fmla="*/ 16 w 96"/>
                <a:gd name="T49" fmla="*/ 54 h 96"/>
                <a:gd name="T50" fmla="*/ 20 w 96"/>
                <a:gd name="T51" fmla="*/ 66 h 96"/>
                <a:gd name="T52" fmla="*/ 30 w 96"/>
                <a:gd name="T53" fmla="*/ 76 h 96"/>
                <a:gd name="T54" fmla="*/ 42 w 96"/>
                <a:gd name="T55" fmla="*/ 80 h 96"/>
                <a:gd name="T56" fmla="*/ 48 w 96"/>
                <a:gd name="T57" fmla="*/ 80 h 96"/>
                <a:gd name="T58" fmla="*/ 60 w 96"/>
                <a:gd name="T59" fmla="*/ 78 h 96"/>
                <a:gd name="T60" fmla="*/ 72 w 96"/>
                <a:gd name="T61" fmla="*/ 70 h 96"/>
                <a:gd name="T62" fmla="*/ 78 w 96"/>
                <a:gd name="T63" fmla="*/ 60 h 96"/>
                <a:gd name="T64" fmla="*/ 82 w 96"/>
                <a:gd name="T65" fmla="*/ 48 h 96"/>
                <a:gd name="T66" fmla="*/ 80 w 96"/>
                <a:gd name="T67" fmla="*/ 42 h 96"/>
                <a:gd name="T68" fmla="*/ 76 w 96"/>
                <a:gd name="T69" fmla="*/ 30 h 96"/>
                <a:gd name="T70" fmla="*/ 66 w 96"/>
                <a:gd name="T71" fmla="*/ 20 h 96"/>
                <a:gd name="T72" fmla="*/ 54 w 96"/>
                <a:gd name="T73" fmla="*/ 16 h 96"/>
                <a:gd name="T74" fmla="*/ 48 w 96"/>
                <a:gd name="T75" fmla="*/ 1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6">
                  <a:moveTo>
                    <a:pt x="48" y="96"/>
                  </a:moveTo>
                  <a:lnTo>
                    <a:pt x="48" y="96"/>
                  </a:lnTo>
                  <a:lnTo>
                    <a:pt x="38" y="94"/>
                  </a:lnTo>
                  <a:lnTo>
                    <a:pt x="30" y="92"/>
                  </a:lnTo>
                  <a:lnTo>
                    <a:pt x="22" y="88"/>
                  </a:lnTo>
                  <a:lnTo>
                    <a:pt x="14" y="82"/>
                  </a:lnTo>
                  <a:lnTo>
                    <a:pt x="8" y="74"/>
                  </a:lnTo>
                  <a:lnTo>
                    <a:pt x="4" y="66"/>
                  </a:lnTo>
                  <a:lnTo>
                    <a:pt x="0" y="58"/>
                  </a:lnTo>
                  <a:lnTo>
                    <a:pt x="0" y="48"/>
                  </a:lnTo>
                  <a:lnTo>
                    <a:pt x="0" y="48"/>
                  </a:lnTo>
                  <a:lnTo>
                    <a:pt x="0" y="38"/>
                  </a:lnTo>
                  <a:lnTo>
                    <a:pt x="4" y="28"/>
                  </a:lnTo>
                  <a:lnTo>
                    <a:pt x="8" y="20"/>
                  </a:lnTo>
                  <a:lnTo>
                    <a:pt x="14" y="14"/>
                  </a:lnTo>
                  <a:lnTo>
                    <a:pt x="22" y="8"/>
                  </a:lnTo>
                  <a:lnTo>
                    <a:pt x="30" y="4"/>
                  </a:lnTo>
                  <a:lnTo>
                    <a:pt x="38" y="0"/>
                  </a:lnTo>
                  <a:lnTo>
                    <a:pt x="48" y="0"/>
                  </a:lnTo>
                  <a:lnTo>
                    <a:pt x="48" y="0"/>
                  </a:lnTo>
                  <a:lnTo>
                    <a:pt x="58" y="0"/>
                  </a:lnTo>
                  <a:lnTo>
                    <a:pt x="66" y="4"/>
                  </a:lnTo>
                  <a:lnTo>
                    <a:pt x="76" y="8"/>
                  </a:lnTo>
                  <a:lnTo>
                    <a:pt x="82" y="14"/>
                  </a:lnTo>
                  <a:lnTo>
                    <a:pt x="88" y="20"/>
                  </a:lnTo>
                  <a:lnTo>
                    <a:pt x="92" y="28"/>
                  </a:lnTo>
                  <a:lnTo>
                    <a:pt x="96" y="38"/>
                  </a:lnTo>
                  <a:lnTo>
                    <a:pt x="96" y="48"/>
                  </a:lnTo>
                  <a:lnTo>
                    <a:pt x="96" y="48"/>
                  </a:lnTo>
                  <a:lnTo>
                    <a:pt x="96" y="58"/>
                  </a:lnTo>
                  <a:lnTo>
                    <a:pt x="92" y="66"/>
                  </a:lnTo>
                  <a:lnTo>
                    <a:pt x="88" y="74"/>
                  </a:lnTo>
                  <a:lnTo>
                    <a:pt x="82" y="82"/>
                  </a:lnTo>
                  <a:lnTo>
                    <a:pt x="76" y="88"/>
                  </a:lnTo>
                  <a:lnTo>
                    <a:pt x="66" y="92"/>
                  </a:lnTo>
                  <a:lnTo>
                    <a:pt x="58" y="94"/>
                  </a:lnTo>
                  <a:lnTo>
                    <a:pt x="48" y="96"/>
                  </a:lnTo>
                  <a:lnTo>
                    <a:pt x="48" y="96"/>
                  </a:lnTo>
                  <a:close/>
                  <a:moveTo>
                    <a:pt x="48" y="14"/>
                  </a:moveTo>
                  <a:lnTo>
                    <a:pt x="48" y="14"/>
                  </a:lnTo>
                  <a:lnTo>
                    <a:pt x="42" y="16"/>
                  </a:lnTo>
                  <a:lnTo>
                    <a:pt x="36" y="18"/>
                  </a:lnTo>
                  <a:lnTo>
                    <a:pt x="30" y="20"/>
                  </a:lnTo>
                  <a:lnTo>
                    <a:pt x="24" y="24"/>
                  </a:lnTo>
                  <a:lnTo>
                    <a:pt x="20" y="30"/>
                  </a:lnTo>
                  <a:lnTo>
                    <a:pt x="18" y="34"/>
                  </a:lnTo>
                  <a:lnTo>
                    <a:pt x="16" y="42"/>
                  </a:lnTo>
                  <a:lnTo>
                    <a:pt x="16" y="48"/>
                  </a:lnTo>
                  <a:lnTo>
                    <a:pt x="16" y="48"/>
                  </a:lnTo>
                  <a:lnTo>
                    <a:pt x="16" y="54"/>
                  </a:lnTo>
                  <a:lnTo>
                    <a:pt x="18" y="60"/>
                  </a:lnTo>
                  <a:lnTo>
                    <a:pt x="20" y="66"/>
                  </a:lnTo>
                  <a:lnTo>
                    <a:pt x="24" y="70"/>
                  </a:lnTo>
                  <a:lnTo>
                    <a:pt x="30" y="76"/>
                  </a:lnTo>
                  <a:lnTo>
                    <a:pt x="36" y="78"/>
                  </a:lnTo>
                  <a:lnTo>
                    <a:pt x="42" y="80"/>
                  </a:lnTo>
                  <a:lnTo>
                    <a:pt x="48" y="80"/>
                  </a:lnTo>
                  <a:lnTo>
                    <a:pt x="48" y="80"/>
                  </a:lnTo>
                  <a:lnTo>
                    <a:pt x="54" y="80"/>
                  </a:lnTo>
                  <a:lnTo>
                    <a:pt x="60" y="78"/>
                  </a:lnTo>
                  <a:lnTo>
                    <a:pt x="66" y="76"/>
                  </a:lnTo>
                  <a:lnTo>
                    <a:pt x="72" y="70"/>
                  </a:lnTo>
                  <a:lnTo>
                    <a:pt x="76" y="66"/>
                  </a:lnTo>
                  <a:lnTo>
                    <a:pt x="78" y="60"/>
                  </a:lnTo>
                  <a:lnTo>
                    <a:pt x="80" y="54"/>
                  </a:lnTo>
                  <a:lnTo>
                    <a:pt x="82" y="48"/>
                  </a:lnTo>
                  <a:lnTo>
                    <a:pt x="82" y="48"/>
                  </a:lnTo>
                  <a:lnTo>
                    <a:pt x="80" y="42"/>
                  </a:lnTo>
                  <a:lnTo>
                    <a:pt x="78" y="34"/>
                  </a:lnTo>
                  <a:lnTo>
                    <a:pt x="76" y="30"/>
                  </a:lnTo>
                  <a:lnTo>
                    <a:pt x="72" y="24"/>
                  </a:lnTo>
                  <a:lnTo>
                    <a:pt x="66" y="20"/>
                  </a:lnTo>
                  <a:lnTo>
                    <a:pt x="60" y="18"/>
                  </a:lnTo>
                  <a:lnTo>
                    <a:pt x="54" y="16"/>
                  </a:lnTo>
                  <a:lnTo>
                    <a:pt x="48" y="14"/>
                  </a:lnTo>
                  <a:lnTo>
                    <a:pt x="48" y="14"/>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28" name="Freeform 71"/>
            <p:cNvSpPr>
              <a:spLocks/>
            </p:cNvSpPr>
            <p:nvPr/>
          </p:nvSpPr>
          <p:spPr bwMode="auto">
            <a:xfrm>
              <a:off x="2009775" y="4635500"/>
              <a:ext cx="155575" cy="193675"/>
            </a:xfrm>
            <a:custGeom>
              <a:avLst/>
              <a:gdLst>
                <a:gd name="T0" fmla="*/ 62 w 98"/>
                <a:gd name="T1" fmla="*/ 104 h 122"/>
                <a:gd name="T2" fmla="*/ 44 w 98"/>
                <a:gd name="T3" fmla="*/ 98 h 122"/>
                <a:gd name="T4" fmla="*/ 32 w 98"/>
                <a:gd name="T5" fmla="*/ 78 h 122"/>
                <a:gd name="T6" fmla="*/ 76 w 98"/>
                <a:gd name="T7" fmla="*/ 64 h 122"/>
                <a:gd name="T8" fmla="*/ 30 w 98"/>
                <a:gd name="T9" fmla="*/ 64 h 122"/>
                <a:gd name="T10" fmla="*/ 30 w 98"/>
                <a:gd name="T11" fmla="*/ 62 h 122"/>
                <a:gd name="T12" fmla="*/ 76 w 98"/>
                <a:gd name="T13" fmla="*/ 58 h 122"/>
                <a:gd name="T14" fmla="*/ 32 w 98"/>
                <a:gd name="T15" fmla="*/ 44 h 122"/>
                <a:gd name="T16" fmla="*/ 36 w 98"/>
                <a:gd name="T17" fmla="*/ 34 h 122"/>
                <a:gd name="T18" fmla="*/ 52 w 98"/>
                <a:gd name="T19" fmla="*/ 20 h 122"/>
                <a:gd name="T20" fmla="*/ 62 w 98"/>
                <a:gd name="T21" fmla="*/ 18 h 122"/>
                <a:gd name="T22" fmla="*/ 76 w 98"/>
                <a:gd name="T23" fmla="*/ 22 h 122"/>
                <a:gd name="T24" fmla="*/ 88 w 98"/>
                <a:gd name="T25" fmla="*/ 30 h 122"/>
                <a:gd name="T26" fmla="*/ 98 w 98"/>
                <a:gd name="T27" fmla="*/ 20 h 122"/>
                <a:gd name="T28" fmla="*/ 82 w 98"/>
                <a:gd name="T29" fmla="*/ 6 h 122"/>
                <a:gd name="T30" fmla="*/ 62 w 98"/>
                <a:gd name="T31" fmla="*/ 0 h 122"/>
                <a:gd name="T32" fmla="*/ 54 w 98"/>
                <a:gd name="T33" fmla="*/ 2 h 122"/>
                <a:gd name="T34" fmla="*/ 40 w 98"/>
                <a:gd name="T35" fmla="*/ 8 h 122"/>
                <a:gd name="T36" fmla="*/ 28 w 98"/>
                <a:gd name="T37" fmla="*/ 20 h 122"/>
                <a:gd name="T38" fmla="*/ 20 w 98"/>
                <a:gd name="T39" fmla="*/ 34 h 122"/>
                <a:gd name="T40" fmla="*/ 0 w 98"/>
                <a:gd name="T41" fmla="*/ 44 h 122"/>
                <a:gd name="T42" fmla="*/ 14 w 98"/>
                <a:gd name="T43" fmla="*/ 58 h 122"/>
                <a:gd name="T44" fmla="*/ 14 w 98"/>
                <a:gd name="T45" fmla="*/ 62 h 122"/>
                <a:gd name="T46" fmla="*/ 14 w 98"/>
                <a:gd name="T47" fmla="*/ 64 h 122"/>
                <a:gd name="T48" fmla="*/ 0 w 98"/>
                <a:gd name="T49" fmla="*/ 78 h 122"/>
                <a:gd name="T50" fmla="*/ 16 w 98"/>
                <a:gd name="T51" fmla="*/ 78 h 122"/>
                <a:gd name="T52" fmla="*/ 22 w 98"/>
                <a:gd name="T53" fmla="*/ 96 h 122"/>
                <a:gd name="T54" fmla="*/ 32 w 98"/>
                <a:gd name="T55" fmla="*/ 110 h 122"/>
                <a:gd name="T56" fmla="*/ 46 w 98"/>
                <a:gd name="T57" fmla="*/ 118 h 122"/>
                <a:gd name="T58" fmla="*/ 62 w 98"/>
                <a:gd name="T59" fmla="*/ 122 h 122"/>
                <a:gd name="T60" fmla="*/ 72 w 98"/>
                <a:gd name="T61" fmla="*/ 120 h 122"/>
                <a:gd name="T62" fmla="*/ 92 w 98"/>
                <a:gd name="T63" fmla="*/ 110 h 122"/>
                <a:gd name="T64" fmla="*/ 88 w 98"/>
                <a:gd name="T65" fmla="*/ 92 h 122"/>
                <a:gd name="T66" fmla="*/ 82 w 98"/>
                <a:gd name="T67" fmla="*/ 98 h 122"/>
                <a:gd name="T68" fmla="*/ 70 w 98"/>
                <a:gd name="T69" fmla="*/ 104 h 122"/>
                <a:gd name="T70" fmla="*/ 62 w 98"/>
                <a:gd name="T71" fmla="*/ 10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8" h="122">
                  <a:moveTo>
                    <a:pt x="62" y="104"/>
                  </a:moveTo>
                  <a:lnTo>
                    <a:pt x="62" y="104"/>
                  </a:lnTo>
                  <a:lnTo>
                    <a:pt x="52" y="102"/>
                  </a:lnTo>
                  <a:lnTo>
                    <a:pt x="44" y="98"/>
                  </a:lnTo>
                  <a:lnTo>
                    <a:pt x="36" y="88"/>
                  </a:lnTo>
                  <a:lnTo>
                    <a:pt x="32" y="78"/>
                  </a:lnTo>
                  <a:lnTo>
                    <a:pt x="76" y="78"/>
                  </a:lnTo>
                  <a:lnTo>
                    <a:pt x="76" y="64"/>
                  </a:lnTo>
                  <a:lnTo>
                    <a:pt x="30" y="64"/>
                  </a:lnTo>
                  <a:lnTo>
                    <a:pt x="30" y="64"/>
                  </a:lnTo>
                  <a:lnTo>
                    <a:pt x="30" y="62"/>
                  </a:lnTo>
                  <a:lnTo>
                    <a:pt x="30" y="62"/>
                  </a:lnTo>
                  <a:lnTo>
                    <a:pt x="30" y="58"/>
                  </a:lnTo>
                  <a:lnTo>
                    <a:pt x="76" y="58"/>
                  </a:lnTo>
                  <a:lnTo>
                    <a:pt x="76" y="44"/>
                  </a:lnTo>
                  <a:lnTo>
                    <a:pt x="32" y="44"/>
                  </a:lnTo>
                  <a:lnTo>
                    <a:pt x="32" y="44"/>
                  </a:lnTo>
                  <a:lnTo>
                    <a:pt x="36" y="34"/>
                  </a:lnTo>
                  <a:lnTo>
                    <a:pt x="44" y="26"/>
                  </a:lnTo>
                  <a:lnTo>
                    <a:pt x="52" y="20"/>
                  </a:lnTo>
                  <a:lnTo>
                    <a:pt x="62" y="18"/>
                  </a:lnTo>
                  <a:lnTo>
                    <a:pt x="62" y="18"/>
                  </a:lnTo>
                  <a:lnTo>
                    <a:pt x="70" y="18"/>
                  </a:lnTo>
                  <a:lnTo>
                    <a:pt x="76" y="22"/>
                  </a:lnTo>
                  <a:lnTo>
                    <a:pt x="82" y="26"/>
                  </a:lnTo>
                  <a:lnTo>
                    <a:pt x="88" y="30"/>
                  </a:lnTo>
                  <a:lnTo>
                    <a:pt x="98" y="20"/>
                  </a:lnTo>
                  <a:lnTo>
                    <a:pt x="98" y="20"/>
                  </a:lnTo>
                  <a:lnTo>
                    <a:pt x="92" y="12"/>
                  </a:lnTo>
                  <a:lnTo>
                    <a:pt x="82" y="6"/>
                  </a:lnTo>
                  <a:lnTo>
                    <a:pt x="72" y="2"/>
                  </a:lnTo>
                  <a:lnTo>
                    <a:pt x="62" y="0"/>
                  </a:lnTo>
                  <a:lnTo>
                    <a:pt x="62" y="0"/>
                  </a:lnTo>
                  <a:lnTo>
                    <a:pt x="54" y="2"/>
                  </a:lnTo>
                  <a:lnTo>
                    <a:pt x="46" y="4"/>
                  </a:lnTo>
                  <a:lnTo>
                    <a:pt x="40" y="8"/>
                  </a:lnTo>
                  <a:lnTo>
                    <a:pt x="32" y="14"/>
                  </a:lnTo>
                  <a:lnTo>
                    <a:pt x="28" y="20"/>
                  </a:lnTo>
                  <a:lnTo>
                    <a:pt x="22" y="26"/>
                  </a:lnTo>
                  <a:lnTo>
                    <a:pt x="20" y="34"/>
                  </a:lnTo>
                  <a:lnTo>
                    <a:pt x="16" y="44"/>
                  </a:lnTo>
                  <a:lnTo>
                    <a:pt x="0" y="44"/>
                  </a:lnTo>
                  <a:lnTo>
                    <a:pt x="0" y="58"/>
                  </a:lnTo>
                  <a:lnTo>
                    <a:pt x="14" y="58"/>
                  </a:lnTo>
                  <a:lnTo>
                    <a:pt x="14" y="58"/>
                  </a:lnTo>
                  <a:lnTo>
                    <a:pt x="14" y="62"/>
                  </a:lnTo>
                  <a:lnTo>
                    <a:pt x="14" y="62"/>
                  </a:lnTo>
                  <a:lnTo>
                    <a:pt x="14" y="64"/>
                  </a:lnTo>
                  <a:lnTo>
                    <a:pt x="0" y="64"/>
                  </a:lnTo>
                  <a:lnTo>
                    <a:pt x="0" y="78"/>
                  </a:lnTo>
                  <a:lnTo>
                    <a:pt x="16" y="78"/>
                  </a:lnTo>
                  <a:lnTo>
                    <a:pt x="16" y="78"/>
                  </a:lnTo>
                  <a:lnTo>
                    <a:pt x="20" y="88"/>
                  </a:lnTo>
                  <a:lnTo>
                    <a:pt x="22" y="96"/>
                  </a:lnTo>
                  <a:lnTo>
                    <a:pt x="28" y="104"/>
                  </a:lnTo>
                  <a:lnTo>
                    <a:pt x="32" y="110"/>
                  </a:lnTo>
                  <a:lnTo>
                    <a:pt x="40" y="114"/>
                  </a:lnTo>
                  <a:lnTo>
                    <a:pt x="46" y="118"/>
                  </a:lnTo>
                  <a:lnTo>
                    <a:pt x="54" y="120"/>
                  </a:lnTo>
                  <a:lnTo>
                    <a:pt x="62" y="122"/>
                  </a:lnTo>
                  <a:lnTo>
                    <a:pt x="62" y="122"/>
                  </a:lnTo>
                  <a:lnTo>
                    <a:pt x="72" y="120"/>
                  </a:lnTo>
                  <a:lnTo>
                    <a:pt x="82" y="116"/>
                  </a:lnTo>
                  <a:lnTo>
                    <a:pt x="92" y="110"/>
                  </a:lnTo>
                  <a:lnTo>
                    <a:pt x="98" y="102"/>
                  </a:lnTo>
                  <a:lnTo>
                    <a:pt x="88" y="92"/>
                  </a:lnTo>
                  <a:lnTo>
                    <a:pt x="88" y="92"/>
                  </a:lnTo>
                  <a:lnTo>
                    <a:pt x="82" y="98"/>
                  </a:lnTo>
                  <a:lnTo>
                    <a:pt x="76" y="100"/>
                  </a:lnTo>
                  <a:lnTo>
                    <a:pt x="70" y="104"/>
                  </a:lnTo>
                  <a:lnTo>
                    <a:pt x="62" y="104"/>
                  </a:lnTo>
                  <a:lnTo>
                    <a:pt x="62" y="104"/>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29" name="Freeform 72"/>
            <p:cNvSpPr>
              <a:spLocks noEditPoints="1"/>
            </p:cNvSpPr>
            <p:nvPr/>
          </p:nvSpPr>
          <p:spPr bwMode="auto">
            <a:xfrm>
              <a:off x="2562225" y="4222750"/>
              <a:ext cx="133350" cy="250825"/>
            </a:xfrm>
            <a:custGeom>
              <a:avLst/>
              <a:gdLst>
                <a:gd name="T0" fmla="*/ 74 w 84"/>
                <a:gd name="T1" fmla="*/ 86 h 158"/>
                <a:gd name="T2" fmla="*/ 50 w 84"/>
                <a:gd name="T3" fmla="*/ 72 h 158"/>
                <a:gd name="T4" fmla="*/ 50 w 84"/>
                <a:gd name="T5" fmla="*/ 28 h 158"/>
                <a:gd name="T6" fmla="*/ 60 w 84"/>
                <a:gd name="T7" fmla="*/ 34 h 158"/>
                <a:gd name="T8" fmla="*/ 66 w 84"/>
                <a:gd name="T9" fmla="*/ 42 h 158"/>
                <a:gd name="T10" fmla="*/ 82 w 84"/>
                <a:gd name="T11" fmla="*/ 52 h 158"/>
                <a:gd name="T12" fmla="*/ 82 w 84"/>
                <a:gd name="T13" fmla="*/ 52 h 158"/>
                <a:gd name="T14" fmla="*/ 82 w 84"/>
                <a:gd name="T15" fmla="*/ 36 h 158"/>
                <a:gd name="T16" fmla="*/ 74 w 84"/>
                <a:gd name="T17" fmla="*/ 24 h 158"/>
                <a:gd name="T18" fmla="*/ 68 w 84"/>
                <a:gd name="T19" fmla="*/ 20 h 158"/>
                <a:gd name="T20" fmla="*/ 50 w 84"/>
                <a:gd name="T21" fmla="*/ 12 h 158"/>
                <a:gd name="T22" fmla="*/ 34 w 84"/>
                <a:gd name="T23" fmla="*/ 0 h 158"/>
                <a:gd name="T24" fmla="*/ 34 w 84"/>
                <a:gd name="T25" fmla="*/ 12 h 158"/>
                <a:gd name="T26" fmla="*/ 14 w 84"/>
                <a:gd name="T27" fmla="*/ 22 h 158"/>
                <a:gd name="T28" fmla="*/ 10 w 84"/>
                <a:gd name="T29" fmla="*/ 28 h 158"/>
                <a:gd name="T30" fmla="*/ 4 w 84"/>
                <a:gd name="T31" fmla="*/ 42 h 158"/>
                <a:gd name="T32" fmla="*/ 2 w 84"/>
                <a:gd name="T33" fmla="*/ 48 h 158"/>
                <a:gd name="T34" fmla="*/ 6 w 84"/>
                <a:gd name="T35" fmla="*/ 62 h 158"/>
                <a:gd name="T36" fmla="*/ 14 w 84"/>
                <a:gd name="T37" fmla="*/ 74 h 158"/>
                <a:gd name="T38" fmla="*/ 22 w 84"/>
                <a:gd name="T39" fmla="*/ 80 h 158"/>
                <a:gd name="T40" fmla="*/ 34 w 84"/>
                <a:gd name="T41" fmla="*/ 128 h 158"/>
                <a:gd name="T42" fmla="*/ 28 w 84"/>
                <a:gd name="T43" fmla="*/ 126 h 158"/>
                <a:gd name="T44" fmla="*/ 24 w 84"/>
                <a:gd name="T45" fmla="*/ 124 h 158"/>
                <a:gd name="T46" fmla="*/ 16 w 84"/>
                <a:gd name="T47" fmla="*/ 106 h 158"/>
                <a:gd name="T48" fmla="*/ 0 w 84"/>
                <a:gd name="T49" fmla="*/ 108 h 158"/>
                <a:gd name="T50" fmla="*/ 2 w 84"/>
                <a:gd name="T51" fmla="*/ 116 h 158"/>
                <a:gd name="T52" fmla="*/ 8 w 84"/>
                <a:gd name="T53" fmla="*/ 130 h 158"/>
                <a:gd name="T54" fmla="*/ 14 w 84"/>
                <a:gd name="T55" fmla="*/ 136 h 158"/>
                <a:gd name="T56" fmla="*/ 34 w 84"/>
                <a:gd name="T57" fmla="*/ 146 h 158"/>
                <a:gd name="T58" fmla="*/ 50 w 84"/>
                <a:gd name="T59" fmla="*/ 158 h 158"/>
                <a:gd name="T60" fmla="*/ 50 w 84"/>
                <a:gd name="T61" fmla="*/ 146 h 158"/>
                <a:gd name="T62" fmla="*/ 72 w 84"/>
                <a:gd name="T63" fmla="*/ 136 h 158"/>
                <a:gd name="T64" fmla="*/ 78 w 84"/>
                <a:gd name="T65" fmla="*/ 132 h 158"/>
                <a:gd name="T66" fmla="*/ 82 w 84"/>
                <a:gd name="T67" fmla="*/ 118 h 158"/>
                <a:gd name="T68" fmla="*/ 84 w 84"/>
                <a:gd name="T69" fmla="*/ 112 h 158"/>
                <a:gd name="T70" fmla="*/ 82 w 84"/>
                <a:gd name="T71" fmla="*/ 98 h 158"/>
                <a:gd name="T72" fmla="*/ 74 w 84"/>
                <a:gd name="T73" fmla="*/ 86 h 158"/>
                <a:gd name="T74" fmla="*/ 34 w 84"/>
                <a:gd name="T75" fmla="*/ 66 h 158"/>
                <a:gd name="T76" fmla="*/ 26 w 84"/>
                <a:gd name="T77" fmla="*/ 60 h 158"/>
                <a:gd name="T78" fmla="*/ 20 w 84"/>
                <a:gd name="T79" fmla="*/ 56 h 158"/>
                <a:gd name="T80" fmla="*/ 18 w 84"/>
                <a:gd name="T81" fmla="*/ 48 h 158"/>
                <a:gd name="T82" fmla="*/ 26 w 84"/>
                <a:gd name="T83" fmla="*/ 34 h 158"/>
                <a:gd name="T84" fmla="*/ 30 w 84"/>
                <a:gd name="T85" fmla="*/ 32 h 158"/>
                <a:gd name="T86" fmla="*/ 34 w 84"/>
                <a:gd name="T87" fmla="*/ 66 h 158"/>
                <a:gd name="T88" fmla="*/ 60 w 84"/>
                <a:gd name="T89" fmla="*/ 126 h 158"/>
                <a:gd name="T90" fmla="*/ 50 w 84"/>
                <a:gd name="T91" fmla="*/ 130 h 158"/>
                <a:gd name="T92" fmla="*/ 50 w 84"/>
                <a:gd name="T93" fmla="*/ 90 h 158"/>
                <a:gd name="T94" fmla="*/ 62 w 84"/>
                <a:gd name="T95" fmla="*/ 98 h 158"/>
                <a:gd name="T96" fmla="*/ 66 w 84"/>
                <a:gd name="T97" fmla="*/ 104 h 158"/>
                <a:gd name="T98" fmla="*/ 68 w 84"/>
                <a:gd name="T99" fmla="*/ 112 h 158"/>
                <a:gd name="T100" fmla="*/ 60 w 84"/>
                <a:gd name="T101" fmla="*/ 12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4" h="158">
                  <a:moveTo>
                    <a:pt x="74" y="86"/>
                  </a:moveTo>
                  <a:lnTo>
                    <a:pt x="74" y="86"/>
                  </a:lnTo>
                  <a:lnTo>
                    <a:pt x="64" y="78"/>
                  </a:lnTo>
                  <a:lnTo>
                    <a:pt x="50" y="72"/>
                  </a:lnTo>
                  <a:lnTo>
                    <a:pt x="50" y="28"/>
                  </a:lnTo>
                  <a:lnTo>
                    <a:pt x="50" y="28"/>
                  </a:lnTo>
                  <a:lnTo>
                    <a:pt x="56" y="30"/>
                  </a:lnTo>
                  <a:lnTo>
                    <a:pt x="60" y="34"/>
                  </a:lnTo>
                  <a:lnTo>
                    <a:pt x="60" y="34"/>
                  </a:lnTo>
                  <a:lnTo>
                    <a:pt x="66" y="42"/>
                  </a:lnTo>
                  <a:lnTo>
                    <a:pt x="66" y="52"/>
                  </a:lnTo>
                  <a:lnTo>
                    <a:pt x="82" y="52"/>
                  </a:lnTo>
                  <a:lnTo>
                    <a:pt x="82" y="52"/>
                  </a:lnTo>
                  <a:lnTo>
                    <a:pt x="82" y="52"/>
                  </a:lnTo>
                  <a:lnTo>
                    <a:pt x="82" y="44"/>
                  </a:lnTo>
                  <a:lnTo>
                    <a:pt x="82" y="36"/>
                  </a:lnTo>
                  <a:lnTo>
                    <a:pt x="78" y="30"/>
                  </a:lnTo>
                  <a:lnTo>
                    <a:pt x="74" y="24"/>
                  </a:lnTo>
                  <a:lnTo>
                    <a:pt x="74" y="24"/>
                  </a:lnTo>
                  <a:lnTo>
                    <a:pt x="68" y="20"/>
                  </a:lnTo>
                  <a:lnTo>
                    <a:pt x="64" y="16"/>
                  </a:lnTo>
                  <a:lnTo>
                    <a:pt x="50" y="12"/>
                  </a:lnTo>
                  <a:lnTo>
                    <a:pt x="50" y="0"/>
                  </a:lnTo>
                  <a:lnTo>
                    <a:pt x="34" y="0"/>
                  </a:lnTo>
                  <a:lnTo>
                    <a:pt x="34" y="12"/>
                  </a:lnTo>
                  <a:lnTo>
                    <a:pt x="34" y="12"/>
                  </a:lnTo>
                  <a:lnTo>
                    <a:pt x="24" y="16"/>
                  </a:lnTo>
                  <a:lnTo>
                    <a:pt x="14" y="22"/>
                  </a:lnTo>
                  <a:lnTo>
                    <a:pt x="14" y="22"/>
                  </a:lnTo>
                  <a:lnTo>
                    <a:pt x="10" y="28"/>
                  </a:lnTo>
                  <a:lnTo>
                    <a:pt x="6" y="34"/>
                  </a:lnTo>
                  <a:lnTo>
                    <a:pt x="4" y="42"/>
                  </a:lnTo>
                  <a:lnTo>
                    <a:pt x="2" y="48"/>
                  </a:lnTo>
                  <a:lnTo>
                    <a:pt x="2" y="48"/>
                  </a:lnTo>
                  <a:lnTo>
                    <a:pt x="4" y="56"/>
                  </a:lnTo>
                  <a:lnTo>
                    <a:pt x="6" y="62"/>
                  </a:lnTo>
                  <a:lnTo>
                    <a:pt x="10" y="68"/>
                  </a:lnTo>
                  <a:lnTo>
                    <a:pt x="14" y="74"/>
                  </a:lnTo>
                  <a:lnTo>
                    <a:pt x="14" y="74"/>
                  </a:lnTo>
                  <a:lnTo>
                    <a:pt x="22" y="80"/>
                  </a:lnTo>
                  <a:lnTo>
                    <a:pt x="34" y="86"/>
                  </a:lnTo>
                  <a:lnTo>
                    <a:pt x="34" y="128"/>
                  </a:lnTo>
                  <a:lnTo>
                    <a:pt x="34" y="128"/>
                  </a:lnTo>
                  <a:lnTo>
                    <a:pt x="28" y="126"/>
                  </a:lnTo>
                  <a:lnTo>
                    <a:pt x="24" y="124"/>
                  </a:lnTo>
                  <a:lnTo>
                    <a:pt x="24" y="124"/>
                  </a:lnTo>
                  <a:lnTo>
                    <a:pt x="18" y="116"/>
                  </a:lnTo>
                  <a:lnTo>
                    <a:pt x="16" y="106"/>
                  </a:lnTo>
                  <a:lnTo>
                    <a:pt x="0" y="106"/>
                  </a:lnTo>
                  <a:lnTo>
                    <a:pt x="0" y="108"/>
                  </a:lnTo>
                  <a:lnTo>
                    <a:pt x="0" y="108"/>
                  </a:lnTo>
                  <a:lnTo>
                    <a:pt x="2" y="116"/>
                  </a:lnTo>
                  <a:lnTo>
                    <a:pt x="4" y="124"/>
                  </a:lnTo>
                  <a:lnTo>
                    <a:pt x="8" y="130"/>
                  </a:lnTo>
                  <a:lnTo>
                    <a:pt x="14" y="136"/>
                  </a:lnTo>
                  <a:lnTo>
                    <a:pt x="14" y="136"/>
                  </a:lnTo>
                  <a:lnTo>
                    <a:pt x="24" y="142"/>
                  </a:lnTo>
                  <a:lnTo>
                    <a:pt x="34" y="146"/>
                  </a:lnTo>
                  <a:lnTo>
                    <a:pt x="34" y="158"/>
                  </a:lnTo>
                  <a:lnTo>
                    <a:pt x="50" y="158"/>
                  </a:lnTo>
                  <a:lnTo>
                    <a:pt x="50" y="146"/>
                  </a:lnTo>
                  <a:lnTo>
                    <a:pt x="50" y="146"/>
                  </a:lnTo>
                  <a:lnTo>
                    <a:pt x="62" y="142"/>
                  </a:lnTo>
                  <a:lnTo>
                    <a:pt x="72" y="136"/>
                  </a:lnTo>
                  <a:lnTo>
                    <a:pt x="72" y="136"/>
                  </a:lnTo>
                  <a:lnTo>
                    <a:pt x="78" y="132"/>
                  </a:lnTo>
                  <a:lnTo>
                    <a:pt x="80" y="126"/>
                  </a:lnTo>
                  <a:lnTo>
                    <a:pt x="82" y="118"/>
                  </a:lnTo>
                  <a:lnTo>
                    <a:pt x="84" y="112"/>
                  </a:lnTo>
                  <a:lnTo>
                    <a:pt x="84" y="112"/>
                  </a:lnTo>
                  <a:lnTo>
                    <a:pt x="84" y="104"/>
                  </a:lnTo>
                  <a:lnTo>
                    <a:pt x="82" y="98"/>
                  </a:lnTo>
                  <a:lnTo>
                    <a:pt x="78" y="92"/>
                  </a:lnTo>
                  <a:lnTo>
                    <a:pt x="74" y="86"/>
                  </a:lnTo>
                  <a:lnTo>
                    <a:pt x="74" y="86"/>
                  </a:lnTo>
                  <a:close/>
                  <a:moveTo>
                    <a:pt x="34" y="66"/>
                  </a:moveTo>
                  <a:lnTo>
                    <a:pt x="34" y="66"/>
                  </a:lnTo>
                  <a:lnTo>
                    <a:pt x="26" y="60"/>
                  </a:lnTo>
                  <a:lnTo>
                    <a:pt x="26" y="60"/>
                  </a:lnTo>
                  <a:lnTo>
                    <a:pt x="20" y="56"/>
                  </a:lnTo>
                  <a:lnTo>
                    <a:pt x="18" y="48"/>
                  </a:lnTo>
                  <a:lnTo>
                    <a:pt x="18" y="48"/>
                  </a:lnTo>
                  <a:lnTo>
                    <a:pt x="20" y="40"/>
                  </a:lnTo>
                  <a:lnTo>
                    <a:pt x="26" y="34"/>
                  </a:lnTo>
                  <a:lnTo>
                    <a:pt x="26" y="34"/>
                  </a:lnTo>
                  <a:lnTo>
                    <a:pt x="30" y="32"/>
                  </a:lnTo>
                  <a:lnTo>
                    <a:pt x="34" y="30"/>
                  </a:lnTo>
                  <a:lnTo>
                    <a:pt x="34" y="66"/>
                  </a:lnTo>
                  <a:close/>
                  <a:moveTo>
                    <a:pt x="60" y="126"/>
                  </a:moveTo>
                  <a:lnTo>
                    <a:pt x="60" y="126"/>
                  </a:lnTo>
                  <a:lnTo>
                    <a:pt x="56" y="128"/>
                  </a:lnTo>
                  <a:lnTo>
                    <a:pt x="50" y="130"/>
                  </a:lnTo>
                  <a:lnTo>
                    <a:pt x="50" y="90"/>
                  </a:lnTo>
                  <a:lnTo>
                    <a:pt x="50" y="90"/>
                  </a:lnTo>
                  <a:lnTo>
                    <a:pt x="56" y="94"/>
                  </a:lnTo>
                  <a:lnTo>
                    <a:pt x="62" y="98"/>
                  </a:lnTo>
                  <a:lnTo>
                    <a:pt x="62" y="98"/>
                  </a:lnTo>
                  <a:lnTo>
                    <a:pt x="66" y="104"/>
                  </a:lnTo>
                  <a:lnTo>
                    <a:pt x="68" y="112"/>
                  </a:lnTo>
                  <a:lnTo>
                    <a:pt x="68" y="112"/>
                  </a:lnTo>
                  <a:lnTo>
                    <a:pt x="66" y="120"/>
                  </a:lnTo>
                  <a:lnTo>
                    <a:pt x="60" y="126"/>
                  </a:lnTo>
                  <a:lnTo>
                    <a:pt x="60" y="126"/>
                  </a:lnTo>
                  <a:close/>
                </a:path>
              </a:pathLst>
            </a:custGeom>
            <a:solidFill>
              <a:srgbClr val="4D4D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30" name="Freeform 73"/>
            <p:cNvSpPr>
              <a:spLocks/>
            </p:cNvSpPr>
            <p:nvPr/>
          </p:nvSpPr>
          <p:spPr bwMode="auto">
            <a:xfrm>
              <a:off x="3413125" y="4203700"/>
              <a:ext cx="241300" cy="241300"/>
            </a:xfrm>
            <a:custGeom>
              <a:avLst/>
              <a:gdLst>
                <a:gd name="T0" fmla="*/ 144 w 152"/>
                <a:gd name="T1" fmla="*/ 152 h 152"/>
                <a:gd name="T2" fmla="*/ 144 w 152"/>
                <a:gd name="T3" fmla="*/ 152 h 152"/>
                <a:gd name="T4" fmla="*/ 142 w 152"/>
                <a:gd name="T5" fmla="*/ 152 h 152"/>
                <a:gd name="T6" fmla="*/ 140 w 152"/>
                <a:gd name="T7" fmla="*/ 150 h 152"/>
                <a:gd name="T8" fmla="*/ 138 w 152"/>
                <a:gd name="T9" fmla="*/ 148 h 152"/>
                <a:gd name="T10" fmla="*/ 136 w 152"/>
                <a:gd name="T11" fmla="*/ 144 h 152"/>
                <a:gd name="T12" fmla="*/ 136 w 152"/>
                <a:gd name="T13" fmla="*/ 16 h 152"/>
                <a:gd name="T14" fmla="*/ 8 w 152"/>
                <a:gd name="T15" fmla="*/ 16 h 152"/>
                <a:gd name="T16" fmla="*/ 8 w 152"/>
                <a:gd name="T17" fmla="*/ 16 h 152"/>
                <a:gd name="T18" fmla="*/ 6 w 152"/>
                <a:gd name="T19" fmla="*/ 14 h 152"/>
                <a:gd name="T20" fmla="*/ 2 w 152"/>
                <a:gd name="T21" fmla="*/ 14 h 152"/>
                <a:gd name="T22" fmla="*/ 0 w 152"/>
                <a:gd name="T23" fmla="*/ 10 h 152"/>
                <a:gd name="T24" fmla="*/ 0 w 152"/>
                <a:gd name="T25" fmla="*/ 8 h 152"/>
                <a:gd name="T26" fmla="*/ 0 w 152"/>
                <a:gd name="T27" fmla="*/ 8 h 152"/>
                <a:gd name="T28" fmla="*/ 0 w 152"/>
                <a:gd name="T29" fmla="*/ 4 h 152"/>
                <a:gd name="T30" fmla="*/ 2 w 152"/>
                <a:gd name="T31" fmla="*/ 2 h 152"/>
                <a:gd name="T32" fmla="*/ 6 w 152"/>
                <a:gd name="T33" fmla="*/ 0 h 152"/>
                <a:gd name="T34" fmla="*/ 8 w 152"/>
                <a:gd name="T35" fmla="*/ 0 h 152"/>
                <a:gd name="T36" fmla="*/ 152 w 152"/>
                <a:gd name="T37" fmla="*/ 0 h 152"/>
                <a:gd name="T38" fmla="*/ 152 w 152"/>
                <a:gd name="T39" fmla="*/ 144 h 152"/>
                <a:gd name="T40" fmla="*/ 152 w 152"/>
                <a:gd name="T41" fmla="*/ 144 h 152"/>
                <a:gd name="T42" fmla="*/ 152 w 152"/>
                <a:gd name="T43" fmla="*/ 148 h 152"/>
                <a:gd name="T44" fmla="*/ 150 w 152"/>
                <a:gd name="T45" fmla="*/ 150 h 152"/>
                <a:gd name="T46" fmla="*/ 148 w 152"/>
                <a:gd name="T47" fmla="*/ 152 h 152"/>
                <a:gd name="T48" fmla="*/ 144 w 152"/>
                <a:gd name="T49" fmla="*/ 152 h 152"/>
                <a:gd name="T50" fmla="*/ 144 w 152"/>
                <a:gd name="T5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2" h="152">
                  <a:moveTo>
                    <a:pt x="144" y="152"/>
                  </a:moveTo>
                  <a:lnTo>
                    <a:pt x="144" y="152"/>
                  </a:lnTo>
                  <a:lnTo>
                    <a:pt x="142" y="152"/>
                  </a:lnTo>
                  <a:lnTo>
                    <a:pt x="140" y="150"/>
                  </a:lnTo>
                  <a:lnTo>
                    <a:pt x="138" y="148"/>
                  </a:lnTo>
                  <a:lnTo>
                    <a:pt x="136" y="144"/>
                  </a:lnTo>
                  <a:lnTo>
                    <a:pt x="136" y="16"/>
                  </a:lnTo>
                  <a:lnTo>
                    <a:pt x="8" y="16"/>
                  </a:lnTo>
                  <a:lnTo>
                    <a:pt x="8" y="16"/>
                  </a:lnTo>
                  <a:lnTo>
                    <a:pt x="6" y="14"/>
                  </a:lnTo>
                  <a:lnTo>
                    <a:pt x="2" y="14"/>
                  </a:lnTo>
                  <a:lnTo>
                    <a:pt x="0" y="10"/>
                  </a:lnTo>
                  <a:lnTo>
                    <a:pt x="0" y="8"/>
                  </a:lnTo>
                  <a:lnTo>
                    <a:pt x="0" y="8"/>
                  </a:lnTo>
                  <a:lnTo>
                    <a:pt x="0" y="4"/>
                  </a:lnTo>
                  <a:lnTo>
                    <a:pt x="2" y="2"/>
                  </a:lnTo>
                  <a:lnTo>
                    <a:pt x="6" y="0"/>
                  </a:lnTo>
                  <a:lnTo>
                    <a:pt x="8" y="0"/>
                  </a:lnTo>
                  <a:lnTo>
                    <a:pt x="152" y="0"/>
                  </a:lnTo>
                  <a:lnTo>
                    <a:pt x="152" y="144"/>
                  </a:lnTo>
                  <a:lnTo>
                    <a:pt x="152" y="144"/>
                  </a:lnTo>
                  <a:lnTo>
                    <a:pt x="152" y="148"/>
                  </a:lnTo>
                  <a:lnTo>
                    <a:pt x="150" y="150"/>
                  </a:lnTo>
                  <a:lnTo>
                    <a:pt x="148" y="152"/>
                  </a:lnTo>
                  <a:lnTo>
                    <a:pt x="144" y="152"/>
                  </a:lnTo>
                  <a:lnTo>
                    <a:pt x="144" y="152"/>
                  </a:ln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31" name="Freeform 79"/>
            <p:cNvSpPr>
              <a:spLocks/>
            </p:cNvSpPr>
            <p:nvPr/>
          </p:nvSpPr>
          <p:spPr bwMode="auto">
            <a:xfrm>
              <a:off x="2346325" y="4260850"/>
              <a:ext cx="1250950" cy="1355725"/>
            </a:xfrm>
            <a:custGeom>
              <a:avLst/>
              <a:gdLst>
                <a:gd name="T0" fmla="*/ 0 w 788"/>
                <a:gd name="T1" fmla="*/ 578 h 854"/>
                <a:gd name="T2" fmla="*/ 2 w 788"/>
                <a:gd name="T3" fmla="*/ 568 h 854"/>
                <a:gd name="T4" fmla="*/ 8 w 788"/>
                <a:gd name="T5" fmla="*/ 550 h 854"/>
                <a:gd name="T6" fmla="*/ 22 w 788"/>
                <a:gd name="T7" fmla="*/ 538 h 854"/>
                <a:gd name="T8" fmla="*/ 38 w 788"/>
                <a:gd name="T9" fmla="*/ 530 h 854"/>
                <a:gd name="T10" fmla="*/ 328 w 788"/>
                <a:gd name="T11" fmla="*/ 530 h 854"/>
                <a:gd name="T12" fmla="*/ 336 w 788"/>
                <a:gd name="T13" fmla="*/ 530 h 854"/>
                <a:gd name="T14" fmla="*/ 348 w 788"/>
                <a:gd name="T15" fmla="*/ 524 h 854"/>
                <a:gd name="T16" fmla="*/ 358 w 788"/>
                <a:gd name="T17" fmla="*/ 514 h 854"/>
                <a:gd name="T18" fmla="*/ 362 w 788"/>
                <a:gd name="T19" fmla="*/ 502 h 854"/>
                <a:gd name="T20" fmla="*/ 364 w 788"/>
                <a:gd name="T21" fmla="*/ 188 h 854"/>
                <a:gd name="T22" fmla="*/ 364 w 788"/>
                <a:gd name="T23" fmla="*/ 180 h 854"/>
                <a:gd name="T24" fmla="*/ 372 w 788"/>
                <a:gd name="T25" fmla="*/ 162 h 854"/>
                <a:gd name="T26" fmla="*/ 384 w 788"/>
                <a:gd name="T27" fmla="*/ 150 h 854"/>
                <a:gd name="T28" fmla="*/ 402 w 788"/>
                <a:gd name="T29" fmla="*/ 142 h 854"/>
                <a:gd name="T30" fmla="*/ 594 w 788"/>
                <a:gd name="T31" fmla="*/ 142 h 854"/>
                <a:gd name="T32" fmla="*/ 612 w 788"/>
                <a:gd name="T33" fmla="*/ 138 h 854"/>
                <a:gd name="T34" fmla="*/ 646 w 788"/>
                <a:gd name="T35" fmla="*/ 124 h 854"/>
                <a:gd name="T36" fmla="*/ 776 w 788"/>
                <a:gd name="T37" fmla="*/ 2 h 854"/>
                <a:gd name="T38" fmla="*/ 780 w 788"/>
                <a:gd name="T39" fmla="*/ 0 h 854"/>
                <a:gd name="T40" fmla="*/ 786 w 788"/>
                <a:gd name="T41" fmla="*/ 2 h 854"/>
                <a:gd name="T42" fmla="*/ 786 w 788"/>
                <a:gd name="T43" fmla="*/ 12 h 854"/>
                <a:gd name="T44" fmla="*/ 670 w 788"/>
                <a:gd name="T45" fmla="*/ 124 h 854"/>
                <a:gd name="T46" fmla="*/ 634 w 788"/>
                <a:gd name="T47" fmla="*/ 146 h 854"/>
                <a:gd name="T48" fmla="*/ 594 w 788"/>
                <a:gd name="T49" fmla="*/ 154 h 854"/>
                <a:gd name="T50" fmla="*/ 410 w 788"/>
                <a:gd name="T51" fmla="*/ 154 h 854"/>
                <a:gd name="T52" fmla="*/ 398 w 788"/>
                <a:gd name="T53" fmla="*/ 156 h 854"/>
                <a:gd name="T54" fmla="*/ 386 w 788"/>
                <a:gd name="T55" fmla="*/ 164 h 854"/>
                <a:gd name="T56" fmla="*/ 380 w 788"/>
                <a:gd name="T57" fmla="*/ 176 h 854"/>
                <a:gd name="T58" fmla="*/ 376 w 788"/>
                <a:gd name="T59" fmla="*/ 188 h 854"/>
                <a:gd name="T60" fmla="*/ 376 w 788"/>
                <a:gd name="T61" fmla="*/ 496 h 854"/>
                <a:gd name="T62" fmla="*/ 372 w 788"/>
                <a:gd name="T63" fmla="*/ 514 h 854"/>
                <a:gd name="T64" fmla="*/ 362 w 788"/>
                <a:gd name="T65" fmla="*/ 530 h 854"/>
                <a:gd name="T66" fmla="*/ 348 w 788"/>
                <a:gd name="T67" fmla="*/ 540 h 854"/>
                <a:gd name="T68" fmla="*/ 328 w 788"/>
                <a:gd name="T69" fmla="*/ 544 h 854"/>
                <a:gd name="T70" fmla="*/ 48 w 788"/>
                <a:gd name="T71" fmla="*/ 544 h 854"/>
                <a:gd name="T72" fmla="*/ 34 w 788"/>
                <a:gd name="T73" fmla="*/ 546 h 854"/>
                <a:gd name="T74" fmla="*/ 24 w 788"/>
                <a:gd name="T75" fmla="*/ 554 h 854"/>
                <a:gd name="T76" fmla="*/ 16 w 788"/>
                <a:gd name="T77" fmla="*/ 564 h 854"/>
                <a:gd name="T78" fmla="*/ 14 w 788"/>
                <a:gd name="T79" fmla="*/ 578 h 854"/>
                <a:gd name="T80" fmla="*/ 0 w 788"/>
                <a:gd name="T81" fmla="*/ 854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88" h="854">
                  <a:moveTo>
                    <a:pt x="0" y="854"/>
                  </a:moveTo>
                  <a:lnTo>
                    <a:pt x="0" y="578"/>
                  </a:lnTo>
                  <a:lnTo>
                    <a:pt x="0" y="578"/>
                  </a:lnTo>
                  <a:lnTo>
                    <a:pt x="2" y="568"/>
                  </a:lnTo>
                  <a:lnTo>
                    <a:pt x="4" y="560"/>
                  </a:lnTo>
                  <a:lnTo>
                    <a:pt x="8" y="550"/>
                  </a:lnTo>
                  <a:lnTo>
                    <a:pt x="14" y="544"/>
                  </a:lnTo>
                  <a:lnTo>
                    <a:pt x="22" y="538"/>
                  </a:lnTo>
                  <a:lnTo>
                    <a:pt x="30" y="534"/>
                  </a:lnTo>
                  <a:lnTo>
                    <a:pt x="38" y="530"/>
                  </a:lnTo>
                  <a:lnTo>
                    <a:pt x="48" y="530"/>
                  </a:lnTo>
                  <a:lnTo>
                    <a:pt x="328" y="530"/>
                  </a:lnTo>
                  <a:lnTo>
                    <a:pt x="328" y="530"/>
                  </a:lnTo>
                  <a:lnTo>
                    <a:pt x="336" y="530"/>
                  </a:lnTo>
                  <a:lnTo>
                    <a:pt x="342" y="528"/>
                  </a:lnTo>
                  <a:lnTo>
                    <a:pt x="348" y="524"/>
                  </a:lnTo>
                  <a:lnTo>
                    <a:pt x="354" y="520"/>
                  </a:lnTo>
                  <a:lnTo>
                    <a:pt x="358" y="514"/>
                  </a:lnTo>
                  <a:lnTo>
                    <a:pt x="360" y="508"/>
                  </a:lnTo>
                  <a:lnTo>
                    <a:pt x="362" y="502"/>
                  </a:lnTo>
                  <a:lnTo>
                    <a:pt x="364" y="496"/>
                  </a:lnTo>
                  <a:lnTo>
                    <a:pt x="364" y="188"/>
                  </a:lnTo>
                  <a:lnTo>
                    <a:pt x="364" y="188"/>
                  </a:lnTo>
                  <a:lnTo>
                    <a:pt x="364" y="180"/>
                  </a:lnTo>
                  <a:lnTo>
                    <a:pt x="366" y="170"/>
                  </a:lnTo>
                  <a:lnTo>
                    <a:pt x="372" y="162"/>
                  </a:lnTo>
                  <a:lnTo>
                    <a:pt x="378" y="154"/>
                  </a:lnTo>
                  <a:lnTo>
                    <a:pt x="384" y="150"/>
                  </a:lnTo>
                  <a:lnTo>
                    <a:pt x="392" y="144"/>
                  </a:lnTo>
                  <a:lnTo>
                    <a:pt x="402" y="142"/>
                  </a:lnTo>
                  <a:lnTo>
                    <a:pt x="410" y="142"/>
                  </a:lnTo>
                  <a:lnTo>
                    <a:pt x="594" y="142"/>
                  </a:lnTo>
                  <a:lnTo>
                    <a:pt x="594" y="142"/>
                  </a:lnTo>
                  <a:lnTo>
                    <a:pt x="612" y="138"/>
                  </a:lnTo>
                  <a:lnTo>
                    <a:pt x="630" y="134"/>
                  </a:lnTo>
                  <a:lnTo>
                    <a:pt x="646" y="124"/>
                  </a:lnTo>
                  <a:lnTo>
                    <a:pt x="660" y="114"/>
                  </a:lnTo>
                  <a:lnTo>
                    <a:pt x="776" y="2"/>
                  </a:lnTo>
                  <a:lnTo>
                    <a:pt x="776" y="2"/>
                  </a:lnTo>
                  <a:lnTo>
                    <a:pt x="780" y="0"/>
                  </a:lnTo>
                  <a:lnTo>
                    <a:pt x="786" y="2"/>
                  </a:lnTo>
                  <a:lnTo>
                    <a:pt x="786" y="2"/>
                  </a:lnTo>
                  <a:lnTo>
                    <a:pt x="788" y="8"/>
                  </a:lnTo>
                  <a:lnTo>
                    <a:pt x="786" y="12"/>
                  </a:lnTo>
                  <a:lnTo>
                    <a:pt x="670" y="124"/>
                  </a:lnTo>
                  <a:lnTo>
                    <a:pt x="670" y="124"/>
                  </a:lnTo>
                  <a:lnTo>
                    <a:pt x="654" y="136"/>
                  </a:lnTo>
                  <a:lnTo>
                    <a:pt x="634" y="146"/>
                  </a:lnTo>
                  <a:lnTo>
                    <a:pt x="614" y="152"/>
                  </a:lnTo>
                  <a:lnTo>
                    <a:pt x="594" y="154"/>
                  </a:lnTo>
                  <a:lnTo>
                    <a:pt x="410" y="154"/>
                  </a:lnTo>
                  <a:lnTo>
                    <a:pt x="410" y="154"/>
                  </a:lnTo>
                  <a:lnTo>
                    <a:pt x="404" y="154"/>
                  </a:lnTo>
                  <a:lnTo>
                    <a:pt x="398" y="156"/>
                  </a:lnTo>
                  <a:lnTo>
                    <a:pt x="392" y="160"/>
                  </a:lnTo>
                  <a:lnTo>
                    <a:pt x="386" y="164"/>
                  </a:lnTo>
                  <a:lnTo>
                    <a:pt x="382" y="170"/>
                  </a:lnTo>
                  <a:lnTo>
                    <a:pt x="380" y="176"/>
                  </a:lnTo>
                  <a:lnTo>
                    <a:pt x="378" y="182"/>
                  </a:lnTo>
                  <a:lnTo>
                    <a:pt x="376" y="188"/>
                  </a:lnTo>
                  <a:lnTo>
                    <a:pt x="376" y="496"/>
                  </a:lnTo>
                  <a:lnTo>
                    <a:pt x="376" y="496"/>
                  </a:lnTo>
                  <a:lnTo>
                    <a:pt x="376" y="506"/>
                  </a:lnTo>
                  <a:lnTo>
                    <a:pt x="372" y="514"/>
                  </a:lnTo>
                  <a:lnTo>
                    <a:pt x="368" y="522"/>
                  </a:lnTo>
                  <a:lnTo>
                    <a:pt x="362" y="530"/>
                  </a:lnTo>
                  <a:lnTo>
                    <a:pt x="356" y="536"/>
                  </a:lnTo>
                  <a:lnTo>
                    <a:pt x="348" y="540"/>
                  </a:lnTo>
                  <a:lnTo>
                    <a:pt x="338" y="542"/>
                  </a:lnTo>
                  <a:lnTo>
                    <a:pt x="328" y="544"/>
                  </a:lnTo>
                  <a:lnTo>
                    <a:pt x="48" y="544"/>
                  </a:lnTo>
                  <a:lnTo>
                    <a:pt x="48" y="544"/>
                  </a:lnTo>
                  <a:lnTo>
                    <a:pt x="42" y="544"/>
                  </a:lnTo>
                  <a:lnTo>
                    <a:pt x="34" y="546"/>
                  </a:lnTo>
                  <a:lnTo>
                    <a:pt x="28" y="550"/>
                  </a:lnTo>
                  <a:lnTo>
                    <a:pt x="24" y="554"/>
                  </a:lnTo>
                  <a:lnTo>
                    <a:pt x="20" y="558"/>
                  </a:lnTo>
                  <a:lnTo>
                    <a:pt x="16" y="564"/>
                  </a:lnTo>
                  <a:lnTo>
                    <a:pt x="14" y="570"/>
                  </a:lnTo>
                  <a:lnTo>
                    <a:pt x="14" y="578"/>
                  </a:lnTo>
                  <a:lnTo>
                    <a:pt x="14" y="854"/>
                  </a:lnTo>
                  <a:lnTo>
                    <a:pt x="0" y="854"/>
                  </a:ln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32" name="Freeform 80"/>
            <p:cNvSpPr>
              <a:spLocks/>
            </p:cNvSpPr>
            <p:nvPr/>
          </p:nvSpPr>
          <p:spPr bwMode="auto">
            <a:xfrm>
              <a:off x="2346325" y="4260850"/>
              <a:ext cx="1250950" cy="1355725"/>
            </a:xfrm>
            <a:custGeom>
              <a:avLst/>
              <a:gdLst>
                <a:gd name="T0" fmla="*/ 0 w 788"/>
                <a:gd name="T1" fmla="*/ 578 h 854"/>
                <a:gd name="T2" fmla="*/ 2 w 788"/>
                <a:gd name="T3" fmla="*/ 568 h 854"/>
                <a:gd name="T4" fmla="*/ 8 w 788"/>
                <a:gd name="T5" fmla="*/ 550 h 854"/>
                <a:gd name="T6" fmla="*/ 22 w 788"/>
                <a:gd name="T7" fmla="*/ 538 h 854"/>
                <a:gd name="T8" fmla="*/ 38 w 788"/>
                <a:gd name="T9" fmla="*/ 530 h 854"/>
                <a:gd name="T10" fmla="*/ 328 w 788"/>
                <a:gd name="T11" fmla="*/ 530 h 854"/>
                <a:gd name="T12" fmla="*/ 336 w 788"/>
                <a:gd name="T13" fmla="*/ 530 h 854"/>
                <a:gd name="T14" fmla="*/ 348 w 788"/>
                <a:gd name="T15" fmla="*/ 524 h 854"/>
                <a:gd name="T16" fmla="*/ 358 w 788"/>
                <a:gd name="T17" fmla="*/ 514 h 854"/>
                <a:gd name="T18" fmla="*/ 362 w 788"/>
                <a:gd name="T19" fmla="*/ 502 h 854"/>
                <a:gd name="T20" fmla="*/ 364 w 788"/>
                <a:gd name="T21" fmla="*/ 188 h 854"/>
                <a:gd name="T22" fmla="*/ 364 w 788"/>
                <a:gd name="T23" fmla="*/ 180 h 854"/>
                <a:gd name="T24" fmla="*/ 372 w 788"/>
                <a:gd name="T25" fmla="*/ 162 h 854"/>
                <a:gd name="T26" fmla="*/ 384 w 788"/>
                <a:gd name="T27" fmla="*/ 150 h 854"/>
                <a:gd name="T28" fmla="*/ 402 w 788"/>
                <a:gd name="T29" fmla="*/ 142 h 854"/>
                <a:gd name="T30" fmla="*/ 594 w 788"/>
                <a:gd name="T31" fmla="*/ 142 h 854"/>
                <a:gd name="T32" fmla="*/ 612 w 788"/>
                <a:gd name="T33" fmla="*/ 138 h 854"/>
                <a:gd name="T34" fmla="*/ 646 w 788"/>
                <a:gd name="T35" fmla="*/ 124 h 854"/>
                <a:gd name="T36" fmla="*/ 776 w 788"/>
                <a:gd name="T37" fmla="*/ 2 h 854"/>
                <a:gd name="T38" fmla="*/ 780 w 788"/>
                <a:gd name="T39" fmla="*/ 0 h 854"/>
                <a:gd name="T40" fmla="*/ 786 w 788"/>
                <a:gd name="T41" fmla="*/ 2 h 854"/>
                <a:gd name="T42" fmla="*/ 786 w 788"/>
                <a:gd name="T43" fmla="*/ 12 h 854"/>
                <a:gd name="T44" fmla="*/ 670 w 788"/>
                <a:gd name="T45" fmla="*/ 124 h 854"/>
                <a:gd name="T46" fmla="*/ 634 w 788"/>
                <a:gd name="T47" fmla="*/ 146 h 854"/>
                <a:gd name="T48" fmla="*/ 594 w 788"/>
                <a:gd name="T49" fmla="*/ 154 h 854"/>
                <a:gd name="T50" fmla="*/ 410 w 788"/>
                <a:gd name="T51" fmla="*/ 154 h 854"/>
                <a:gd name="T52" fmla="*/ 398 w 788"/>
                <a:gd name="T53" fmla="*/ 156 h 854"/>
                <a:gd name="T54" fmla="*/ 386 w 788"/>
                <a:gd name="T55" fmla="*/ 164 h 854"/>
                <a:gd name="T56" fmla="*/ 380 w 788"/>
                <a:gd name="T57" fmla="*/ 176 h 854"/>
                <a:gd name="T58" fmla="*/ 376 w 788"/>
                <a:gd name="T59" fmla="*/ 188 h 854"/>
                <a:gd name="T60" fmla="*/ 376 w 788"/>
                <a:gd name="T61" fmla="*/ 496 h 854"/>
                <a:gd name="T62" fmla="*/ 372 w 788"/>
                <a:gd name="T63" fmla="*/ 514 h 854"/>
                <a:gd name="T64" fmla="*/ 362 w 788"/>
                <a:gd name="T65" fmla="*/ 530 h 854"/>
                <a:gd name="T66" fmla="*/ 348 w 788"/>
                <a:gd name="T67" fmla="*/ 540 h 854"/>
                <a:gd name="T68" fmla="*/ 328 w 788"/>
                <a:gd name="T69" fmla="*/ 544 h 854"/>
                <a:gd name="T70" fmla="*/ 48 w 788"/>
                <a:gd name="T71" fmla="*/ 544 h 854"/>
                <a:gd name="T72" fmla="*/ 34 w 788"/>
                <a:gd name="T73" fmla="*/ 546 h 854"/>
                <a:gd name="T74" fmla="*/ 24 w 788"/>
                <a:gd name="T75" fmla="*/ 554 h 854"/>
                <a:gd name="T76" fmla="*/ 16 w 788"/>
                <a:gd name="T77" fmla="*/ 564 h 854"/>
                <a:gd name="T78" fmla="*/ 14 w 788"/>
                <a:gd name="T79" fmla="*/ 57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88" h="854">
                  <a:moveTo>
                    <a:pt x="0" y="854"/>
                  </a:moveTo>
                  <a:lnTo>
                    <a:pt x="0" y="578"/>
                  </a:lnTo>
                  <a:lnTo>
                    <a:pt x="0" y="578"/>
                  </a:lnTo>
                  <a:lnTo>
                    <a:pt x="2" y="568"/>
                  </a:lnTo>
                  <a:lnTo>
                    <a:pt x="4" y="560"/>
                  </a:lnTo>
                  <a:lnTo>
                    <a:pt x="8" y="550"/>
                  </a:lnTo>
                  <a:lnTo>
                    <a:pt x="14" y="544"/>
                  </a:lnTo>
                  <a:lnTo>
                    <a:pt x="22" y="538"/>
                  </a:lnTo>
                  <a:lnTo>
                    <a:pt x="30" y="534"/>
                  </a:lnTo>
                  <a:lnTo>
                    <a:pt x="38" y="530"/>
                  </a:lnTo>
                  <a:lnTo>
                    <a:pt x="48" y="530"/>
                  </a:lnTo>
                  <a:lnTo>
                    <a:pt x="328" y="530"/>
                  </a:lnTo>
                  <a:lnTo>
                    <a:pt x="328" y="530"/>
                  </a:lnTo>
                  <a:lnTo>
                    <a:pt x="336" y="530"/>
                  </a:lnTo>
                  <a:lnTo>
                    <a:pt x="342" y="528"/>
                  </a:lnTo>
                  <a:lnTo>
                    <a:pt x="348" y="524"/>
                  </a:lnTo>
                  <a:lnTo>
                    <a:pt x="354" y="520"/>
                  </a:lnTo>
                  <a:lnTo>
                    <a:pt x="358" y="514"/>
                  </a:lnTo>
                  <a:lnTo>
                    <a:pt x="360" y="508"/>
                  </a:lnTo>
                  <a:lnTo>
                    <a:pt x="362" y="502"/>
                  </a:lnTo>
                  <a:lnTo>
                    <a:pt x="364" y="496"/>
                  </a:lnTo>
                  <a:lnTo>
                    <a:pt x="364" y="188"/>
                  </a:lnTo>
                  <a:lnTo>
                    <a:pt x="364" y="188"/>
                  </a:lnTo>
                  <a:lnTo>
                    <a:pt x="364" y="180"/>
                  </a:lnTo>
                  <a:lnTo>
                    <a:pt x="366" y="170"/>
                  </a:lnTo>
                  <a:lnTo>
                    <a:pt x="372" y="162"/>
                  </a:lnTo>
                  <a:lnTo>
                    <a:pt x="378" y="154"/>
                  </a:lnTo>
                  <a:lnTo>
                    <a:pt x="384" y="150"/>
                  </a:lnTo>
                  <a:lnTo>
                    <a:pt x="392" y="144"/>
                  </a:lnTo>
                  <a:lnTo>
                    <a:pt x="402" y="142"/>
                  </a:lnTo>
                  <a:lnTo>
                    <a:pt x="410" y="142"/>
                  </a:lnTo>
                  <a:lnTo>
                    <a:pt x="594" y="142"/>
                  </a:lnTo>
                  <a:lnTo>
                    <a:pt x="594" y="142"/>
                  </a:lnTo>
                  <a:lnTo>
                    <a:pt x="612" y="138"/>
                  </a:lnTo>
                  <a:lnTo>
                    <a:pt x="630" y="134"/>
                  </a:lnTo>
                  <a:lnTo>
                    <a:pt x="646" y="124"/>
                  </a:lnTo>
                  <a:lnTo>
                    <a:pt x="660" y="114"/>
                  </a:lnTo>
                  <a:lnTo>
                    <a:pt x="776" y="2"/>
                  </a:lnTo>
                  <a:lnTo>
                    <a:pt x="776" y="2"/>
                  </a:lnTo>
                  <a:lnTo>
                    <a:pt x="780" y="0"/>
                  </a:lnTo>
                  <a:lnTo>
                    <a:pt x="786" y="2"/>
                  </a:lnTo>
                  <a:lnTo>
                    <a:pt x="786" y="2"/>
                  </a:lnTo>
                  <a:lnTo>
                    <a:pt x="788" y="8"/>
                  </a:lnTo>
                  <a:lnTo>
                    <a:pt x="786" y="12"/>
                  </a:lnTo>
                  <a:lnTo>
                    <a:pt x="670" y="124"/>
                  </a:lnTo>
                  <a:lnTo>
                    <a:pt x="670" y="124"/>
                  </a:lnTo>
                  <a:lnTo>
                    <a:pt x="654" y="136"/>
                  </a:lnTo>
                  <a:lnTo>
                    <a:pt x="634" y="146"/>
                  </a:lnTo>
                  <a:lnTo>
                    <a:pt x="614" y="152"/>
                  </a:lnTo>
                  <a:lnTo>
                    <a:pt x="594" y="154"/>
                  </a:lnTo>
                  <a:lnTo>
                    <a:pt x="410" y="154"/>
                  </a:lnTo>
                  <a:lnTo>
                    <a:pt x="410" y="154"/>
                  </a:lnTo>
                  <a:lnTo>
                    <a:pt x="404" y="154"/>
                  </a:lnTo>
                  <a:lnTo>
                    <a:pt x="398" y="156"/>
                  </a:lnTo>
                  <a:lnTo>
                    <a:pt x="392" y="160"/>
                  </a:lnTo>
                  <a:lnTo>
                    <a:pt x="386" y="164"/>
                  </a:lnTo>
                  <a:lnTo>
                    <a:pt x="382" y="170"/>
                  </a:lnTo>
                  <a:lnTo>
                    <a:pt x="380" y="176"/>
                  </a:lnTo>
                  <a:lnTo>
                    <a:pt x="378" y="182"/>
                  </a:lnTo>
                  <a:lnTo>
                    <a:pt x="376" y="188"/>
                  </a:lnTo>
                  <a:lnTo>
                    <a:pt x="376" y="496"/>
                  </a:lnTo>
                  <a:lnTo>
                    <a:pt x="376" y="496"/>
                  </a:lnTo>
                  <a:lnTo>
                    <a:pt x="376" y="506"/>
                  </a:lnTo>
                  <a:lnTo>
                    <a:pt x="372" y="514"/>
                  </a:lnTo>
                  <a:lnTo>
                    <a:pt x="368" y="522"/>
                  </a:lnTo>
                  <a:lnTo>
                    <a:pt x="362" y="530"/>
                  </a:lnTo>
                  <a:lnTo>
                    <a:pt x="356" y="536"/>
                  </a:lnTo>
                  <a:lnTo>
                    <a:pt x="348" y="540"/>
                  </a:lnTo>
                  <a:lnTo>
                    <a:pt x="338" y="542"/>
                  </a:lnTo>
                  <a:lnTo>
                    <a:pt x="328" y="544"/>
                  </a:lnTo>
                  <a:lnTo>
                    <a:pt x="48" y="544"/>
                  </a:lnTo>
                  <a:lnTo>
                    <a:pt x="48" y="544"/>
                  </a:lnTo>
                  <a:lnTo>
                    <a:pt x="42" y="544"/>
                  </a:lnTo>
                  <a:lnTo>
                    <a:pt x="34" y="546"/>
                  </a:lnTo>
                  <a:lnTo>
                    <a:pt x="28" y="550"/>
                  </a:lnTo>
                  <a:lnTo>
                    <a:pt x="24" y="554"/>
                  </a:lnTo>
                  <a:lnTo>
                    <a:pt x="20" y="558"/>
                  </a:lnTo>
                  <a:lnTo>
                    <a:pt x="16" y="564"/>
                  </a:lnTo>
                  <a:lnTo>
                    <a:pt x="14" y="570"/>
                  </a:lnTo>
                  <a:lnTo>
                    <a:pt x="14" y="578"/>
                  </a:lnTo>
                  <a:lnTo>
                    <a:pt x="14" y="8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33" name="Freeform 103"/>
            <p:cNvSpPr>
              <a:spLocks/>
            </p:cNvSpPr>
            <p:nvPr/>
          </p:nvSpPr>
          <p:spPr bwMode="auto">
            <a:xfrm>
              <a:off x="3536950" y="5302250"/>
              <a:ext cx="228600" cy="257175"/>
            </a:xfrm>
            <a:custGeom>
              <a:avLst/>
              <a:gdLst>
                <a:gd name="T0" fmla="*/ 118 w 144"/>
                <a:gd name="T1" fmla="*/ 140 h 162"/>
                <a:gd name="T2" fmla="*/ 98 w 144"/>
                <a:gd name="T3" fmla="*/ 158 h 162"/>
                <a:gd name="T4" fmla="*/ 76 w 144"/>
                <a:gd name="T5" fmla="*/ 162 h 162"/>
                <a:gd name="T6" fmla="*/ 58 w 144"/>
                <a:gd name="T7" fmla="*/ 160 h 162"/>
                <a:gd name="T8" fmla="*/ 30 w 144"/>
                <a:gd name="T9" fmla="*/ 148 h 162"/>
                <a:gd name="T10" fmla="*/ 10 w 144"/>
                <a:gd name="T11" fmla="*/ 126 h 162"/>
                <a:gd name="T12" fmla="*/ 0 w 144"/>
                <a:gd name="T13" fmla="*/ 98 h 162"/>
                <a:gd name="T14" fmla="*/ 0 w 144"/>
                <a:gd name="T15" fmla="*/ 82 h 162"/>
                <a:gd name="T16" fmla="*/ 4 w 144"/>
                <a:gd name="T17" fmla="*/ 50 h 162"/>
                <a:gd name="T18" fmla="*/ 20 w 144"/>
                <a:gd name="T19" fmla="*/ 24 h 162"/>
                <a:gd name="T20" fmla="*/ 44 w 144"/>
                <a:gd name="T21" fmla="*/ 6 h 162"/>
                <a:gd name="T22" fmla="*/ 76 w 144"/>
                <a:gd name="T23" fmla="*/ 0 h 162"/>
                <a:gd name="T24" fmla="*/ 88 w 144"/>
                <a:gd name="T25" fmla="*/ 0 h 162"/>
                <a:gd name="T26" fmla="*/ 110 w 144"/>
                <a:gd name="T27" fmla="*/ 8 h 162"/>
                <a:gd name="T28" fmla="*/ 126 w 144"/>
                <a:gd name="T29" fmla="*/ 22 h 162"/>
                <a:gd name="T30" fmla="*/ 138 w 144"/>
                <a:gd name="T31" fmla="*/ 42 h 162"/>
                <a:gd name="T32" fmla="*/ 108 w 144"/>
                <a:gd name="T33" fmla="*/ 54 h 162"/>
                <a:gd name="T34" fmla="*/ 104 w 144"/>
                <a:gd name="T35" fmla="*/ 44 h 162"/>
                <a:gd name="T36" fmla="*/ 86 w 144"/>
                <a:gd name="T37" fmla="*/ 30 h 162"/>
                <a:gd name="T38" fmla="*/ 76 w 144"/>
                <a:gd name="T39" fmla="*/ 28 h 162"/>
                <a:gd name="T40" fmla="*/ 56 w 144"/>
                <a:gd name="T41" fmla="*/ 32 h 162"/>
                <a:gd name="T42" fmla="*/ 44 w 144"/>
                <a:gd name="T43" fmla="*/ 44 h 162"/>
                <a:gd name="T44" fmla="*/ 36 w 144"/>
                <a:gd name="T45" fmla="*/ 62 h 162"/>
                <a:gd name="T46" fmla="*/ 34 w 144"/>
                <a:gd name="T47" fmla="*/ 82 h 162"/>
                <a:gd name="T48" fmla="*/ 34 w 144"/>
                <a:gd name="T49" fmla="*/ 92 h 162"/>
                <a:gd name="T50" fmla="*/ 38 w 144"/>
                <a:gd name="T51" fmla="*/ 110 h 162"/>
                <a:gd name="T52" fmla="*/ 48 w 144"/>
                <a:gd name="T53" fmla="*/ 124 h 162"/>
                <a:gd name="T54" fmla="*/ 66 w 144"/>
                <a:gd name="T55" fmla="*/ 132 h 162"/>
                <a:gd name="T56" fmla="*/ 76 w 144"/>
                <a:gd name="T57" fmla="*/ 134 h 162"/>
                <a:gd name="T58" fmla="*/ 90 w 144"/>
                <a:gd name="T59" fmla="*/ 132 h 162"/>
                <a:gd name="T60" fmla="*/ 102 w 144"/>
                <a:gd name="T61" fmla="*/ 124 h 162"/>
                <a:gd name="T62" fmla="*/ 110 w 144"/>
                <a:gd name="T63" fmla="*/ 114 h 162"/>
                <a:gd name="T64" fmla="*/ 78 w 144"/>
                <a:gd name="T65" fmla="*/ 100 h 162"/>
                <a:gd name="T66" fmla="*/ 144 w 144"/>
                <a:gd name="T67" fmla="*/ 74 h 162"/>
                <a:gd name="T68" fmla="*/ 122 w 144"/>
                <a:gd name="T69" fmla="*/ 15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4" h="162">
                  <a:moveTo>
                    <a:pt x="118" y="140"/>
                  </a:moveTo>
                  <a:lnTo>
                    <a:pt x="118" y="140"/>
                  </a:lnTo>
                  <a:lnTo>
                    <a:pt x="108" y="150"/>
                  </a:lnTo>
                  <a:lnTo>
                    <a:pt x="98" y="158"/>
                  </a:lnTo>
                  <a:lnTo>
                    <a:pt x="86" y="160"/>
                  </a:lnTo>
                  <a:lnTo>
                    <a:pt x="76" y="162"/>
                  </a:lnTo>
                  <a:lnTo>
                    <a:pt x="76" y="162"/>
                  </a:lnTo>
                  <a:lnTo>
                    <a:pt x="58" y="160"/>
                  </a:lnTo>
                  <a:lnTo>
                    <a:pt x="44" y="156"/>
                  </a:lnTo>
                  <a:lnTo>
                    <a:pt x="30" y="148"/>
                  </a:lnTo>
                  <a:lnTo>
                    <a:pt x="20" y="138"/>
                  </a:lnTo>
                  <a:lnTo>
                    <a:pt x="10" y="126"/>
                  </a:lnTo>
                  <a:lnTo>
                    <a:pt x="4" y="112"/>
                  </a:lnTo>
                  <a:lnTo>
                    <a:pt x="0" y="98"/>
                  </a:lnTo>
                  <a:lnTo>
                    <a:pt x="0" y="82"/>
                  </a:lnTo>
                  <a:lnTo>
                    <a:pt x="0" y="82"/>
                  </a:lnTo>
                  <a:lnTo>
                    <a:pt x="0" y="64"/>
                  </a:lnTo>
                  <a:lnTo>
                    <a:pt x="4" y="50"/>
                  </a:lnTo>
                  <a:lnTo>
                    <a:pt x="10" y="36"/>
                  </a:lnTo>
                  <a:lnTo>
                    <a:pt x="20" y="24"/>
                  </a:lnTo>
                  <a:lnTo>
                    <a:pt x="30" y="14"/>
                  </a:lnTo>
                  <a:lnTo>
                    <a:pt x="44" y="6"/>
                  </a:lnTo>
                  <a:lnTo>
                    <a:pt x="58" y="2"/>
                  </a:lnTo>
                  <a:lnTo>
                    <a:pt x="76" y="0"/>
                  </a:lnTo>
                  <a:lnTo>
                    <a:pt x="76" y="0"/>
                  </a:lnTo>
                  <a:lnTo>
                    <a:pt x="88" y="0"/>
                  </a:lnTo>
                  <a:lnTo>
                    <a:pt x="98" y="4"/>
                  </a:lnTo>
                  <a:lnTo>
                    <a:pt x="110" y="8"/>
                  </a:lnTo>
                  <a:lnTo>
                    <a:pt x="118" y="14"/>
                  </a:lnTo>
                  <a:lnTo>
                    <a:pt x="126" y="22"/>
                  </a:lnTo>
                  <a:lnTo>
                    <a:pt x="134" y="32"/>
                  </a:lnTo>
                  <a:lnTo>
                    <a:pt x="138" y="42"/>
                  </a:lnTo>
                  <a:lnTo>
                    <a:pt x="140" y="54"/>
                  </a:lnTo>
                  <a:lnTo>
                    <a:pt x="108" y="54"/>
                  </a:lnTo>
                  <a:lnTo>
                    <a:pt x="108" y="54"/>
                  </a:lnTo>
                  <a:lnTo>
                    <a:pt x="104" y="44"/>
                  </a:lnTo>
                  <a:lnTo>
                    <a:pt x="96" y="34"/>
                  </a:lnTo>
                  <a:lnTo>
                    <a:pt x="86" y="30"/>
                  </a:lnTo>
                  <a:lnTo>
                    <a:pt x="76" y="28"/>
                  </a:lnTo>
                  <a:lnTo>
                    <a:pt x="76" y="28"/>
                  </a:lnTo>
                  <a:lnTo>
                    <a:pt x="66" y="30"/>
                  </a:lnTo>
                  <a:lnTo>
                    <a:pt x="56" y="32"/>
                  </a:lnTo>
                  <a:lnTo>
                    <a:pt x="48" y="38"/>
                  </a:lnTo>
                  <a:lnTo>
                    <a:pt x="44" y="44"/>
                  </a:lnTo>
                  <a:lnTo>
                    <a:pt x="38" y="52"/>
                  </a:lnTo>
                  <a:lnTo>
                    <a:pt x="36" y="62"/>
                  </a:lnTo>
                  <a:lnTo>
                    <a:pt x="34" y="72"/>
                  </a:lnTo>
                  <a:lnTo>
                    <a:pt x="34" y="82"/>
                  </a:lnTo>
                  <a:lnTo>
                    <a:pt x="34" y="82"/>
                  </a:lnTo>
                  <a:lnTo>
                    <a:pt x="34" y="92"/>
                  </a:lnTo>
                  <a:lnTo>
                    <a:pt x="36" y="100"/>
                  </a:lnTo>
                  <a:lnTo>
                    <a:pt x="38" y="110"/>
                  </a:lnTo>
                  <a:lnTo>
                    <a:pt x="44" y="118"/>
                  </a:lnTo>
                  <a:lnTo>
                    <a:pt x="48" y="124"/>
                  </a:lnTo>
                  <a:lnTo>
                    <a:pt x="56" y="128"/>
                  </a:lnTo>
                  <a:lnTo>
                    <a:pt x="66" y="132"/>
                  </a:lnTo>
                  <a:lnTo>
                    <a:pt x="76" y="134"/>
                  </a:lnTo>
                  <a:lnTo>
                    <a:pt x="76" y="134"/>
                  </a:lnTo>
                  <a:lnTo>
                    <a:pt x="84" y="132"/>
                  </a:lnTo>
                  <a:lnTo>
                    <a:pt x="90" y="132"/>
                  </a:lnTo>
                  <a:lnTo>
                    <a:pt x="96" y="128"/>
                  </a:lnTo>
                  <a:lnTo>
                    <a:pt x="102" y="124"/>
                  </a:lnTo>
                  <a:lnTo>
                    <a:pt x="106" y="120"/>
                  </a:lnTo>
                  <a:lnTo>
                    <a:pt x="110" y="114"/>
                  </a:lnTo>
                  <a:lnTo>
                    <a:pt x="112" y="100"/>
                  </a:lnTo>
                  <a:lnTo>
                    <a:pt x="78" y="100"/>
                  </a:lnTo>
                  <a:lnTo>
                    <a:pt x="78" y="74"/>
                  </a:lnTo>
                  <a:lnTo>
                    <a:pt x="144" y="74"/>
                  </a:lnTo>
                  <a:lnTo>
                    <a:pt x="144" y="158"/>
                  </a:lnTo>
                  <a:lnTo>
                    <a:pt x="122" y="158"/>
                  </a:lnTo>
                  <a:lnTo>
                    <a:pt x="118" y="14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34" name="Freeform 104"/>
            <p:cNvSpPr>
              <a:spLocks/>
            </p:cNvSpPr>
            <p:nvPr/>
          </p:nvSpPr>
          <p:spPr bwMode="auto">
            <a:xfrm>
              <a:off x="3803650" y="5372100"/>
              <a:ext cx="114300" cy="180975"/>
            </a:xfrm>
            <a:custGeom>
              <a:avLst/>
              <a:gdLst>
                <a:gd name="T0" fmla="*/ 0 w 72"/>
                <a:gd name="T1" fmla="*/ 2 h 114"/>
                <a:gd name="T2" fmla="*/ 28 w 72"/>
                <a:gd name="T3" fmla="*/ 2 h 114"/>
                <a:gd name="T4" fmla="*/ 28 w 72"/>
                <a:gd name="T5" fmla="*/ 24 h 114"/>
                <a:gd name="T6" fmla="*/ 30 w 72"/>
                <a:gd name="T7" fmla="*/ 24 h 114"/>
                <a:gd name="T8" fmla="*/ 30 w 72"/>
                <a:gd name="T9" fmla="*/ 24 h 114"/>
                <a:gd name="T10" fmla="*/ 36 w 72"/>
                <a:gd name="T11" fmla="*/ 14 h 114"/>
                <a:gd name="T12" fmla="*/ 44 w 72"/>
                <a:gd name="T13" fmla="*/ 6 h 114"/>
                <a:gd name="T14" fmla="*/ 54 w 72"/>
                <a:gd name="T15" fmla="*/ 0 h 114"/>
                <a:gd name="T16" fmla="*/ 66 w 72"/>
                <a:gd name="T17" fmla="*/ 0 h 114"/>
                <a:gd name="T18" fmla="*/ 66 w 72"/>
                <a:gd name="T19" fmla="*/ 0 h 114"/>
                <a:gd name="T20" fmla="*/ 72 w 72"/>
                <a:gd name="T21" fmla="*/ 0 h 114"/>
                <a:gd name="T22" fmla="*/ 72 w 72"/>
                <a:gd name="T23" fmla="*/ 28 h 114"/>
                <a:gd name="T24" fmla="*/ 72 w 72"/>
                <a:gd name="T25" fmla="*/ 28 h 114"/>
                <a:gd name="T26" fmla="*/ 60 w 72"/>
                <a:gd name="T27" fmla="*/ 28 h 114"/>
                <a:gd name="T28" fmla="*/ 60 w 72"/>
                <a:gd name="T29" fmla="*/ 28 h 114"/>
                <a:gd name="T30" fmla="*/ 54 w 72"/>
                <a:gd name="T31" fmla="*/ 28 h 114"/>
                <a:gd name="T32" fmla="*/ 46 w 72"/>
                <a:gd name="T33" fmla="*/ 30 h 114"/>
                <a:gd name="T34" fmla="*/ 42 w 72"/>
                <a:gd name="T35" fmla="*/ 34 h 114"/>
                <a:gd name="T36" fmla="*/ 38 w 72"/>
                <a:gd name="T37" fmla="*/ 38 h 114"/>
                <a:gd name="T38" fmla="*/ 34 w 72"/>
                <a:gd name="T39" fmla="*/ 44 h 114"/>
                <a:gd name="T40" fmla="*/ 32 w 72"/>
                <a:gd name="T41" fmla="*/ 50 h 114"/>
                <a:gd name="T42" fmla="*/ 30 w 72"/>
                <a:gd name="T43" fmla="*/ 64 h 114"/>
                <a:gd name="T44" fmla="*/ 30 w 72"/>
                <a:gd name="T45" fmla="*/ 114 h 114"/>
                <a:gd name="T46" fmla="*/ 0 w 72"/>
                <a:gd name="T47" fmla="*/ 114 h 114"/>
                <a:gd name="T48" fmla="*/ 0 w 72"/>
                <a:gd name="T49" fmla="*/ 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 h="114">
                  <a:moveTo>
                    <a:pt x="0" y="2"/>
                  </a:moveTo>
                  <a:lnTo>
                    <a:pt x="28" y="2"/>
                  </a:lnTo>
                  <a:lnTo>
                    <a:pt x="28" y="24"/>
                  </a:lnTo>
                  <a:lnTo>
                    <a:pt x="30" y="24"/>
                  </a:lnTo>
                  <a:lnTo>
                    <a:pt x="30" y="24"/>
                  </a:lnTo>
                  <a:lnTo>
                    <a:pt x="36" y="14"/>
                  </a:lnTo>
                  <a:lnTo>
                    <a:pt x="44" y="6"/>
                  </a:lnTo>
                  <a:lnTo>
                    <a:pt x="54" y="0"/>
                  </a:lnTo>
                  <a:lnTo>
                    <a:pt x="66" y="0"/>
                  </a:lnTo>
                  <a:lnTo>
                    <a:pt x="66" y="0"/>
                  </a:lnTo>
                  <a:lnTo>
                    <a:pt x="72" y="0"/>
                  </a:lnTo>
                  <a:lnTo>
                    <a:pt x="72" y="28"/>
                  </a:lnTo>
                  <a:lnTo>
                    <a:pt x="72" y="28"/>
                  </a:lnTo>
                  <a:lnTo>
                    <a:pt x="60" y="28"/>
                  </a:lnTo>
                  <a:lnTo>
                    <a:pt x="60" y="28"/>
                  </a:lnTo>
                  <a:lnTo>
                    <a:pt x="54" y="28"/>
                  </a:lnTo>
                  <a:lnTo>
                    <a:pt x="46" y="30"/>
                  </a:lnTo>
                  <a:lnTo>
                    <a:pt x="42" y="34"/>
                  </a:lnTo>
                  <a:lnTo>
                    <a:pt x="38" y="38"/>
                  </a:lnTo>
                  <a:lnTo>
                    <a:pt x="34" y="44"/>
                  </a:lnTo>
                  <a:lnTo>
                    <a:pt x="32" y="50"/>
                  </a:lnTo>
                  <a:lnTo>
                    <a:pt x="30" y="64"/>
                  </a:lnTo>
                  <a:lnTo>
                    <a:pt x="30" y="114"/>
                  </a:lnTo>
                  <a:lnTo>
                    <a:pt x="0" y="114"/>
                  </a:lnTo>
                  <a:lnTo>
                    <a:pt x="0" y="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35" name="Freeform 105"/>
            <p:cNvSpPr>
              <a:spLocks noEditPoints="1"/>
            </p:cNvSpPr>
            <p:nvPr/>
          </p:nvSpPr>
          <p:spPr bwMode="auto">
            <a:xfrm>
              <a:off x="3924300" y="5372100"/>
              <a:ext cx="184150" cy="187325"/>
            </a:xfrm>
            <a:custGeom>
              <a:avLst/>
              <a:gdLst>
                <a:gd name="T0" fmla="*/ 58 w 116"/>
                <a:gd name="T1" fmla="*/ 0 h 118"/>
                <a:gd name="T2" fmla="*/ 82 w 116"/>
                <a:gd name="T3" fmla="*/ 4 h 118"/>
                <a:gd name="T4" fmla="*/ 100 w 116"/>
                <a:gd name="T5" fmla="*/ 16 h 118"/>
                <a:gd name="T6" fmla="*/ 112 w 116"/>
                <a:gd name="T7" fmla="*/ 34 h 118"/>
                <a:gd name="T8" fmla="*/ 116 w 116"/>
                <a:gd name="T9" fmla="*/ 58 h 118"/>
                <a:gd name="T10" fmla="*/ 116 w 116"/>
                <a:gd name="T11" fmla="*/ 72 h 118"/>
                <a:gd name="T12" fmla="*/ 108 w 116"/>
                <a:gd name="T13" fmla="*/ 92 h 118"/>
                <a:gd name="T14" fmla="*/ 92 w 116"/>
                <a:gd name="T15" fmla="*/ 108 h 118"/>
                <a:gd name="T16" fmla="*/ 72 w 116"/>
                <a:gd name="T17" fmla="*/ 116 h 118"/>
                <a:gd name="T18" fmla="*/ 58 w 116"/>
                <a:gd name="T19" fmla="*/ 118 h 118"/>
                <a:gd name="T20" fmla="*/ 34 w 116"/>
                <a:gd name="T21" fmla="*/ 114 h 118"/>
                <a:gd name="T22" fmla="*/ 16 w 116"/>
                <a:gd name="T23" fmla="*/ 102 h 118"/>
                <a:gd name="T24" fmla="*/ 4 w 116"/>
                <a:gd name="T25" fmla="*/ 82 h 118"/>
                <a:gd name="T26" fmla="*/ 0 w 116"/>
                <a:gd name="T27" fmla="*/ 58 h 118"/>
                <a:gd name="T28" fmla="*/ 2 w 116"/>
                <a:gd name="T29" fmla="*/ 46 h 118"/>
                <a:gd name="T30" fmla="*/ 10 w 116"/>
                <a:gd name="T31" fmla="*/ 24 h 118"/>
                <a:gd name="T32" fmla="*/ 24 w 116"/>
                <a:gd name="T33" fmla="*/ 8 h 118"/>
                <a:gd name="T34" fmla="*/ 46 w 116"/>
                <a:gd name="T35" fmla="*/ 0 h 118"/>
                <a:gd name="T36" fmla="*/ 58 w 116"/>
                <a:gd name="T37" fmla="*/ 0 h 118"/>
                <a:gd name="T38" fmla="*/ 58 w 116"/>
                <a:gd name="T39" fmla="*/ 94 h 118"/>
                <a:gd name="T40" fmla="*/ 72 w 116"/>
                <a:gd name="T41" fmla="*/ 92 h 118"/>
                <a:gd name="T42" fmla="*/ 80 w 116"/>
                <a:gd name="T43" fmla="*/ 82 h 118"/>
                <a:gd name="T44" fmla="*/ 86 w 116"/>
                <a:gd name="T45" fmla="*/ 58 h 118"/>
                <a:gd name="T46" fmla="*/ 84 w 116"/>
                <a:gd name="T47" fmla="*/ 46 h 118"/>
                <a:gd name="T48" fmla="*/ 76 w 116"/>
                <a:gd name="T49" fmla="*/ 30 h 118"/>
                <a:gd name="T50" fmla="*/ 66 w 116"/>
                <a:gd name="T51" fmla="*/ 24 h 118"/>
                <a:gd name="T52" fmla="*/ 58 w 116"/>
                <a:gd name="T53" fmla="*/ 22 h 118"/>
                <a:gd name="T54" fmla="*/ 46 w 116"/>
                <a:gd name="T55" fmla="*/ 26 h 118"/>
                <a:gd name="T56" fmla="*/ 38 w 116"/>
                <a:gd name="T57" fmla="*/ 34 h 118"/>
                <a:gd name="T58" fmla="*/ 32 w 116"/>
                <a:gd name="T59" fmla="*/ 58 h 118"/>
                <a:gd name="T60" fmla="*/ 32 w 116"/>
                <a:gd name="T61" fmla="*/ 72 h 118"/>
                <a:gd name="T62" fmla="*/ 40 w 116"/>
                <a:gd name="T63" fmla="*/ 88 h 118"/>
                <a:gd name="T64" fmla="*/ 52 w 116"/>
                <a:gd name="T65" fmla="*/ 94 h 118"/>
                <a:gd name="T66" fmla="*/ 58 w 116"/>
                <a:gd name="T67" fmla="*/ 9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18">
                  <a:moveTo>
                    <a:pt x="58" y="0"/>
                  </a:moveTo>
                  <a:lnTo>
                    <a:pt x="58" y="0"/>
                  </a:lnTo>
                  <a:lnTo>
                    <a:pt x="72" y="0"/>
                  </a:lnTo>
                  <a:lnTo>
                    <a:pt x="82" y="4"/>
                  </a:lnTo>
                  <a:lnTo>
                    <a:pt x="92" y="8"/>
                  </a:lnTo>
                  <a:lnTo>
                    <a:pt x="100" y="16"/>
                  </a:lnTo>
                  <a:lnTo>
                    <a:pt x="108" y="24"/>
                  </a:lnTo>
                  <a:lnTo>
                    <a:pt x="112" y="34"/>
                  </a:lnTo>
                  <a:lnTo>
                    <a:pt x="116" y="46"/>
                  </a:lnTo>
                  <a:lnTo>
                    <a:pt x="116" y="58"/>
                  </a:lnTo>
                  <a:lnTo>
                    <a:pt x="116" y="58"/>
                  </a:lnTo>
                  <a:lnTo>
                    <a:pt x="116" y="72"/>
                  </a:lnTo>
                  <a:lnTo>
                    <a:pt x="112" y="82"/>
                  </a:lnTo>
                  <a:lnTo>
                    <a:pt x="108" y="92"/>
                  </a:lnTo>
                  <a:lnTo>
                    <a:pt x="100" y="102"/>
                  </a:lnTo>
                  <a:lnTo>
                    <a:pt x="92" y="108"/>
                  </a:lnTo>
                  <a:lnTo>
                    <a:pt x="82" y="114"/>
                  </a:lnTo>
                  <a:lnTo>
                    <a:pt x="72" y="116"/>
                  </a:lnTo>
                  <a:lnTo>
                    <a:pt x="58" y="118"/>
                  </a:lnTo>
                  <a:lnTo>
                    <a:pt x="58" y="118"/>
                  </a:lnTo>
                  <a:lnTo>
                    <a:pt x="46" y="116"/>
                  </a:lnTo>
                  <a:lnTo>
                    <a:pt x="34" y="114"/>
                  </a:lnTo>
                  <a:lnTo>
                    <a:pt x="24" y="108"/>
                  </a:lnTo>
                  <a:lnTo>
                    <a:pt x="16" y="102"/>
                  </a:lnTo>
                  <a:lnTo>
                    <a:pt x="10" y="92"/>
                  </a:lnTo>
                  <a:lnTo>
                    <a:pt x="4" y="82"/>
                  </a:lnTo>
                  <a:lnTo>
                    <a:pt x="2" y="72"/>
                  </a:lnTo>
                  <a:lnTo>
                    <a:pt x="0" y="58"/>
                  </a:lnTo>
                  <a:lnTo>
                    <a:pt x="0" y="58"/>
                  </a:lnTo>
                  <a:lnTo>
                    <a:pt x="2" y="46"/>
                  </a:lnTo>
                  <a:lnTo>
                    <a:pt x="4" y="34"/>
                  </a:lnTo>
                  <a:lnTo>
                    <a:pt x="10" y="24"/>
                  </a:lnTo>
                  <a:lnTo>
                    <a:pt x="16" y="16"/>
                  </a:lnTo>
                  <a:lnTo>
                    <a:pt x="24" y="8"/>
                  </a:lnTo>
                  <a:lnTo>
                    <a:pt x="34" y="4"/>
                  </a:lnTo>
                  <a:lnTo>
                    <a:pt x="46" y="0"/>
                  </a:lnTo>
                  <a:lnTo>
                    <a:pt x="58" y="0"/>
                  </a:lnTo>
                  <a:lnTo>
                    <a:pt x="58" y="0"/>
                  </a:lnTo>
                  <a:close/>
                  <a:moveTo>
                    <a:pt x="58" y="94"/>
                  </a:moveTo>
                  <a:lnTo>
                    <a:pt x="58" y="94"/>
                  </a:lnTo>
                  <a:lnTo>
                    <a:pt x="66" y="94"/>
                  </a:lnTo>
                  <a:lnTo>
                    <a:pt x="72" y="92"/>
                  </a:lnTo>
                  <a:lnTo>
                    <a:pt x="76" y="88"/>
                  </a:lnTo>
                  <a:lnTo>
                    <a:pt x="80" y="82"/>
                  </a:lnTo>
                  <a:lnTo>
                    <a:pt x="84" y="72"/>
                  </a:lnTo>
                  <a:lnTo>
                    <a:pt x="86" y="58"/>
                  </a:lnTo>
                  <a:lnTo>
                    <a:pt x="86" y="58"/>
                  </a:lnTo>
                  <a:lnTo>
                    <a:pt x="84" y="46"/>
                  </a:lnTo>
                  <a:lnTo>
                    <a:pt x="80" y="34"/>
                  </a:lnTo>
                  <a:lnTo>
                    <a:pt x="76" y="30"/>
                  </a:lnTo>
                  <a:lnTo>
                    <a:pt x="72" y="26"/>
                  </a:lnTo>
                  <a:lnTo>
                    <a:pt x="66" y="24"/>
                  </a:lnTo>
                  <a:lnTo>
                    <a:pt x="58" y="22"/>
                  </a:lnTo>
                  <a:lnTo>
                    <a:pt x="58" y="22"/>
                  </a:lnTo>
                  <a:lnTo>
                    <a:pt x="52" y="24"/>
                  </a:lnTo>
                  <a:lnTo>
                    <a:pt x="46" y="26"/>
                  </a:lnTo>
                  <a:lnTo>
                    <a:pt x="40" y="30"/>
                  </a:lnTo>
                  <a:lnTo>
                    <a:pt x="38" y="34"/>
                  </a:lnTo>
                  <a:lnTo>
                    <a:pt x="32" y="46"/>
                  </a:lnTo>
                  <a:lnTo>
                    <a:pt x="32" y="58"/>
                  </a:lnTo>
                  <a:lnTo>
                    <a:pt x="32" y="58"/>
                  </a:lnTo>
                  <a:lnTo>
                    <a:pt x="32" y="72"/>
                  </a:lnTo>
                  <a:lnTo>
                    <a:pt x="38" y="82"/>
                  </a:lnTo>
                  <a:lnTo>
                    <a:pt x="40" y="88"/>
                  </a:lnTo>
                  <a:lnTo>
                    <a:pt x="46" y="92"/>
                  </a:lnTo>
                  <a:lnTo>
                    <a:pt x="52" y="94"/>
                  </a:lnTo>
                  <a:lnTo>
                    <a:pt x="58" y="94"/>
                  </a:lnTo>
                  <a:lnTo>
                    <a:pt x="58" y="94"/>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36" name="Freeform 106"/>
            <p:cNvSpPr>
              <a:spLocks/>
            </p:cNvSpPr>
            <p:nvPr/>
          </p:nvSpPr>
          <p:spPr bwMode="auto">
            <a:xfrm>
              <a:off x="4140200" y="5375275"/>
              <a:ext cx="168275" cy="184150"/>
            </a:xfrm>
            <a:custGeom>
              <a:avLst/>
              <a:gdLst>
                <a:gd name="T0" fmla="*/ 106 w 106"/>
                <a:gd name="T1" fmla="*/ 112 h 116"/>
                <a:gd name="T2" fmla="*/ 76 w 106"/>
                <a:gd name="T3" fmla="*/ 112 h 116"/>
                <a:gd name="T4" fmla="*/ 76 w 106"/>
                <a:gd name="T5" fmla="*/ 96 h 116"/>
                <a:gd name="T6" fmla="*/ 76 w 106"/>
                <a:gd name="T7" fmla="*/ 96 h 116"/>
                <a:gd name="T8" fmla="*/ 76 w 106"/>
                <a:gd name="T9" fmla="*/ 96 h 116"/>
                <a:gd name="T10" fmla="*/ 70 w 106"/>
                <a:gd name="T11" fmla="*/ 104 h 116"/>
                <a:gd name="T12" fmla="*/ 60 w 106"/>
                <a:gd name="T13" fmla="*/ 110 h 116"/>
                <a:gd name="T14" fmla="*/ 52 w 106"/>
                <a:gd name="T15" fmla="*/ 114 h 116"/>
                <a:gd name="T16" fmla="*/ 42 w 106"/>
                <a:gd name="T17" fmla="*/ 116 h 116"/>
                <a:gd name="T18" fmla="*/ 42 w 106"/>
                <a:gd name="T19" fmla="*/ 116 h 116"/>
                <a:gd name="T20" fmla="*/ 30 w 106"/>
                <a:gd name="T21" fmla="*/ 114 h 116"/>
                <a:gd name="T22" fmla="*/ 22 w 106"/>
                <a:gd name="T23" fmla="*/ 112 h 116"/>
                <a:gd name="T24" fmla="*/ 14 w 106"/>
                <a:gd name="T25" fmla="*/ 108 h 116"/>
                <a:gd name="T26" fmla="*/ 8 w 106"/>
                <a:gd name="T27" fmla="*/ 102 h 116"/>
                <a:gd name="T28" fmla="*/ 6 w 106"/>
                <a:gd name="T29" fmla="*/ 96 h 116"/>
                <a:gd name="T30" fmla="*/ 2 w 106"/>
                <a:gd name="T31" fmla="*/ 88 h 116"/>
                <a:gd name="T32" fmla="*/ 0 w 106"/>
                <a:gd name="T33" fmla="*/ 70 h 116"/>
                <a:gd name="T34" fmla="*/ 0 w 106"/>
                <a:gd name="T35" fmla="*/ 0 h 116"/>
                <a:gd name="T36" fmla="*/ 32 w 106"/>
                <a:gd name="T37" fmla="*/ 0 h 116"/>
                <a:gd name="T38" fmla="*/ 32 w 106"/>
                <a:gd name="T39" fmla="*/ 64 h 116"/>
                <a:gd name="T40" fmla="*/ 32 w 106"/>
                <a:gd name="T41" fmla="*/ 64 h 116"/>
                <a:gd name="T42" fmla="*/ 32 w 106"/>
                <a:gd name="T43" fmla="*/ 76 h 116"/>
                <a:gd name="T44" fmla="*/ 36 w 106"/>
                <a:gd name="T45" fmla="*/ 84 h 116"/>
                <a:gd name="T46" fmla="*/ 42 w 106"/>
                <a:gd name="T47" fmla="*/ 90 h 116"/>
                <a:gd name="T48" fmla="*/ 52 w 106"/>
                <a:gd name="T49" fmla="*/ 92 h 116"/>
                <a:gd name="T50" fmla="*/ 52 w 106"/>
                <a:gd name="T51" fmla="*/ 92 h 116"/>
                <a:gd name="T52" fmla="*/ 62 w 106"/>
                <a:gd name="T53" fmla="*/ 90 h 116"/>
                <a:gd name="T54" fmla="*/ 66 w 106"/>
                <a:gd name="T55" fmla="*/ 86 h 116"/>
                <a:gd name="T56" fmla="*/ 70 w 106"/>
                <a:gd name="T57" fmla="*/ 84 h 116"/>
                <a:gd name="T58" fmla="*/ 74 w 106"/>
                <a:gd name="T59" fmla="*/ 74 h 116"/>
                <a:gd name="T60" fmla="*/ 76 w 106"/>
                <a:gd name="T61" fmla="*/ 60 h 116"/>
                <a:gd name="T62" fmla="*/ 76 w 106"/>
                <a:gd name="T63" fmla="*/ 0 h 116"/>
                <a:gd name="T64" fmla="*/ 106 w 106"/>
                <a:gd name="T65" fmla="*/ 0 h 116"/>
                <a:gd name="T66" fmla="*/ 106 w 106"/>
                <a:gd name="T67" fmla="*/ 11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116">
                  <a:moveTo>
                    <a:pt x="106" y="112"/>
                  </a:moveTo>
                  <a:lnTo>
                    <a:pt x="76" y="112"/>
                  </a:lnTo>
                  <a:lnTo>
                    <a:pt x="76" y="96"/>
                  </a:lnTo>
                  <a:lnTo>
                    <a:pt x="76" y="96"/>
                  </a:lnTo>
                  <a:lnTo>
                    <a:pt x="76" y="96"/>
                  </a:lnTo>
                  <a:lnTo>
                    <a:pt x="70" y="104"/>
                  </a:lnTo>
                  <a:lnTo>
                    <a:pt x="60" y="110"/>
                  </a:lnTo>
                  <a:lnTo>
                    <a:pt x="52" y="114"/>
                  </a:lnTo>
                  <a:lnTo>
                    <a:pt x="42" y="116"/>
                  </a:lnTo>
                  <a:lnTo>
                    <a:pt x="42" y="116"/>
                  </a:lnTo>
                  <a:lnTo>
                    <a:pt x="30" y="114"/>
                  </a:lnTo>
                  <a:lnTo>
                    <a:pt x="22" y="112"/>
                  </a:lnTo>
                  <a:lnTo>
                    <a:pt x="14" y="108"/>
                  </a:lnTo>
                  <a:lnTo>
                    <a:pt x="8" y="102"/>
                  </a:lnTo>
                  <a:lnTo>
                    <a:pt x="6" y="96"/>
                  </a:lnTo>
                  <a:lnTo>
                    <a:pt x="2" y="88"/>
                  </a:lnTo>
                  <a:lnTo>
                    <a:pt x="0" y="70"/>
                  </a:lnTo>
                  <a:lnTo>
                    <a:pt x="0" y="0"/>
                  </a:lnTo>
                  <a:lnTo>
                    <a:pt x="32" y="0"/>
                  </a:lnTo>
                  <a:lnTo>
                    <a:pt x="32" y="64"/>
                  </a:lnTo>
                  <a:lnTo>
                    <a:pt x="32" y="64"/>
                  </a:lnTo>
                  <a:lnTo>
                    <a:pt x="32" y="76"/>
                  </a:lnTo>
                  <a:lnTo>
                    <a:pt x="36" y="84"/>
                  </a:lnTo>
                  <a:lnTo>
                    <a:pt x="42" y="90"/>
                  </a:lnTo>
                  <a:lnTo>
                    <a:pt x="52" y="92"/>
                  </a:lnTo>
                  <a:lnTo>
                    <a:pt x="52" y="92"/>
                  </a:lnTo>
                  <a:lnTo>
                    <a:pt x="62" y="90"/>
                  </a:lnTo>
                  <a:lnTo>
                    <a:pt x="66" y="86"/>
                  </a:lnTo>
                  <a:lnTo>
                    <a:pt x="70" y="84"/>
                  </a:lnTo>
                  <a:lnTo>
                    <a:pt x="74" y="74"/>
                  </a:lnTo>
                  <a:lnTo>
                    <a:pt x="76" y="60"/>
                  </a:lnTo>
                  <a:lnTo>
                    <a:pt x="76" y="0"/>
                  </a:lnTo>
                  <a:lnTo>
                    <a:pt x="106" y="0"/>
                  </a:lnTo>
                  <a:lnTo>
                    <a:pt x="106" y="11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37" name="Freeform 107"/>
            <p:cNvSpPr>
              <a:spLocks noEditPoints="1"/>
            </p:cNvSpPr>
            <p:nvPr/>
          </p:nvSpPr>
          <p:spPr bwMode="auto">
            <a:xfrm>
              <a:off x="4346575" y="5372100"/>
              <a:ext cx="180975" cy="244475"/>
            </a:xfrm>
            <a:custGeom>
              <a:avLst/>
              <a:gdLst>
                <a:gd name="T0" fmla="*/ 28 w 114"/>
                <a:gd name="T1" fmla="*/ 2 h 154"/>
                <a:gd name="T2" fmla="*/ 30 w 114"/>
                <a:gd name="T3" fmla="*/ 16 h 154"/>
                <a:gd name="T4" fmla="*/ 36 w 114"/>
                <a:gd name="T5" fmla="*/ 8 h 154"/>
                <a:gd name="T6" fmla="*/ 52 w 114"/>
                <a:gd name="T7" fmla="*/ 0 h 154"/>
                <a:gd name="T8" fmla="*/ 62 w 114"/>
                <a:gd name="T9" fmla="*/ 0 h 154"/>
                <a:gd name="T10" fmla="*/ 86 w 114"/>
                <a:gd name="T11" fmla="*/ 4 h 154"/>
                <a:gd name="T12" fmla="*/ 102 w 114"/>
                <a:gd name="T13" fmla="*/ 18 h 154"/>
                <a:gd name="T14" fmla="*/ 110 w 114"/>
                <a:gd name="T15" fmla="*/ 36 h 154"/>
                <a:gd name="T16" fmla="*/ 114 w 114"/>
                <a:gd name="T17" fmla="*/ 60 h 154"/>
                <a:gd name="T18" fmla="*/ 112 w 114"/>
                <a:gd name="T19" fmla="*/ 70 h 154"/>
                <a:gd name="T20" fmla="*/ 106 w 114"/>
                <a:gd name="T21" fmla="*/ 90 h 154"/>
                <a:gd name="T22" fmla="*/ 94 w 114"/>
                <a:gd name="T23" fmla="*/ 106 h 154"/>
                <a:gd name="T24" fmla="*/ 76 w 114"/>
                <a:gd name="T25" fmla="*/ 116 h 154"/>
                <a:gd name="T26" fmla="*/ 64 w 114"/>
                <a:gd name="T27" fmla="*/ 118 h 154"/>
                <a:gd name="T28" fmla="*/ 46 w 114"/>
                <a:gd name="T29" fmla="*/ 114 h 154"/>
                <a:gd name="T30" fmla="*/ 30 w 114"/>
                <a:gd name="T31" fmla="*/ 100 h 154"/>
                <a:gd name="T32" fmla="*/ 30 w 114"/>
                <a:gd name="T33" fmla="*/ 154 h 154"/>
                <a:gd name="T34" fmla="*/ 0 w 114"/>
                <a:gd name="T35" fmla="*/ 2 h 154"/>
                <a:gd name="T36" fmla="*/ 82 w 114"/>
                <a:gd name="T37" fmla="*/ 58 h 154"/>
                <a:gd name="T38" fmla="*/ 76 w 114"/>
                <a:gd name="T39" fmla="*/ 34 h 154"/>
                <a:gd name="T40" fmla="*/ 68 w 114"/>
                <a:gd name="T41" fmla="*/ 26 h 154"/>
                <a:gd name="T42" fmla="*/ 56 w 114"/>
                <a:gd name="T43" fmla="*/ 22 h 154"/>
                <a:gd name="T44" fmla="*/ 48 w 114"/>
                <a:gd name="T45" fmla="*/ 24 h 154"/>
                <a:gd name="T46" fmla="*/ 38 w 114"/>
                <a:gd name="T47" fmla="*/ 30 h 154"/>
                <a:gd name="T48" fmla="*/ 30 w 114"/>
                <a:gd name="T49" fmla="*/ 46 h 154"/>
                <a:gd name="T50" fmla="*/ 30 w 114"/>
                <a:gd name="T51" fmla="*/ 58 h 154"/>
                <a:gd name="T52" fmla="*/ 36 w 114"/>
                <a:gd name="T53" fmla="*/ 84 h 154"/>
                <a:gd name="T54" fmla="*/ 44 w 114"/>
                <a:gd name="T55" fmla="*/ 92 h 154"/>
                <a:gd name="T56" fmla="*/ 56 w 114"/>
                <a:gd name="T57" fmla="*/ 94 h 154"/>
                <a:gd name="T58" fmla="*/ 64 w 114"/>
                <a:gd name="T59" fmla="*/ 94 h 154"/>
                <a:gd name="T60" fmla="*/ 74 w 114"/>
                <a:gd name="T61" fmla="*/ 88 h 154"/>
                <a:gd name="T62" fmla="*/ 82 w 114"/>
                <a:gd name="T63" fmla="*/ 72 h 154"/>
                <a:gd name="T64" fmla="*/ 82 w 114"/>
                <a:gd name="T65" fmla="*/ 5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4" h="154">
                  <a:moveTo>
                    <a:pt x="0" y="2"/>
                  </a:moveTo>
                  <a:lnTo>
                    <a:pt x="28" y="2"/>
                  </a:lnTo>
                  <a:lnTo>
                    <a:pt x="28" y="16"/>
                  </a:lnTo>
                  <a:lnTo>
                    <a:pt x="30" y="16"/>
                  </a:lnTo>
                  <a:lnTo>
                    <a:pt x="30" y="16"/>
                  </a:lnTo>
                  <a:lnTo>
                    <a:pt x="36" y="8"/>
                  </a:lnTo>
                  <a:lnTo>
                    <a:pt x="44" y="4"/>
                  </a:lnTo>
                  <a:lnTo>
                    <a:pt x="52" y="0"/>
                  </a:lnTo>
                  <a:lnTo>
                    <a:pt x="62" y="0"/>
                  </a:lnTo>
                  <a:lnTo>
                    <a:pt x="62" y="0"/>
                  </a:lnTo>
                  <a:lnTo>
                    <a:pt x="74" y="0"/>
                  </a:lnTo>
                  <a:lnTo>
                    <a:pt x="86" y="4"/>
                  </a:lnTo>
                  <a:lnTo>
                    <a:pt x="94" y="10"/>
                  </a:lnTo>
                  <a:lnTo>
                    <a:pt x="102" y="18"/>
                  </a:lnTo>
                  <a:lnTo>
                    <a:pt x="106" y="26"/>
                  </a:lnTo>
                  <a:lnTo>
                    <a:pt x="110" y="36"/>
                  </a:lnTo>
                  <a:lnTo>
                    <a:pt x="112" y="48"/>
                  </a:lnTo>
                  <a:lnTo>
                    <a:pt x="114" y="60"/>
                  </a:lnTo>
                  <a:lnTo>
                    <a:pt x="114" y="60"/>
                  </a:lnTo>
                  <a:lnTo>
                    <a:pt x="112" y="70"/>
                  </a:lnTo>
                  <a:lnTo>
                    <a:pt x="110" y="82"/>
                  </a:lnTo>
                  <a:lnTo>
                    <a:pt x="106" y="90"/>
                  </a:lnTo>
                  <a:lnTo>
                    <a:pt x="102" y="100"/>
                  </a:lnTo>
                  <a:lnTo>
                    <a:pt x="94" y="106"/>
                  </a:lnTo>
                  <a:lnTo>
                    <a:pt x="86" y="112"/>
                  </a:lnTo>
                  <a:lnTo>
                    <a:pt x="76" y="116"/>
                  </a:lnTo>
                  <a:lnTo>
                    <a:pt x="64" y="118"/>
                  </a:lnTo>
                  <a:lnTo>
                    <a:pt x="64" y="118"/>
                  </a:lnTo>
                  <a:lnTo>
                    <a:pt x="54" y="116"/>
                  </a:lnTo>
                  <a:lnTo>
                    <a:pt x="46" y="114"/>
                  </a:lnTo>
                  <a:lnTo>
                    <a:pt x="38" y="108"/>
                  </a:lnTo>
                  <a:lnTo>
                    <a:pt x="30" y="100"/>
                  </a:lnTo>
                  <a:lnTo>
                    <a:pt x="30" y="100"/>
                  </a:lnTo>
                  <a:lnTo>
                    <a:pt x="30" y="154"/>
                  </a:lnTo>
                  <a:lnTo>
                    <a:pt x="0" y="154"/>
                  </a:lnTo>
                  <a:lnTo>
                    <a:pt x="0" y="2"/>
                  </a:lnTo>
                  <a:close/>
                  <a:moveTo>
                    <a:pt x="82" y="58"/>
                  </a:moveTo>
                  <a:lnTo>
                    <a:pt x="82" y="58"/>
                  </a:lnTo>
                  <a:lnTo>
                    <a:pt x="82" y="46"/>
                  </a:lnTo>
                  <a:lnTo>
                    <a:pt x="76" y="34"/>
                  </a:lnTo>
                  <a:lnTo>
                    <a:pt x="74" y="30"/>
                  </a:lnTo>
                  <a:lnTo>
                    <a:pt x="68" y="26"/>
                  </a:lnTo>
                  <a:lnTo>
                    <a:pt x="62" y="24"/>
                  </a:lnTo>
                  <a:lnTo>
                    <a:pt x="56" y="22"/>
                  </a:lnTo>
                  <a:lnTo>
                    <a:pt x="56" y="22"/>
                  </a:lnTo>
                  <a:lnTo>
                    <a:pt x="48" y="24"/>
                  </a:lnTo>
                  <a:lnTo>
                    <a:pt x="44" y="26"/>
                  </a:lnTo>
                  <a:lnTo>
                    <a:pt x="38" y="30"/>
                  </a:lnTo>
                  <a:lnTo>
                    <a:pt x="34" y="34"/>
                  </a:lnTo>
                  <a:lnTo>
                    <a:pt x="30" y="46"/>
                  </a:lnTo>
                  <a:lnTo>
                    <a:pt x="30" y="58"/>
                  </a:lnTo>
                  <a:lnTo>
                    <a:pt x="30" y="58"/>
                  </a:lnTo>
                  <a:lnTo>
                    <a:pt x="30" y="72"/>
                  </a:lnTo>
                  <a:lnTo>
                    <a:pt x="36" y="84"/>
                  </a:lnTo>
                  <a:lnTo>
                    <a:pt x="38" y="88"/>
                  </a:lnTo>
                  <a:lnTo>
                    <a:pt x="44" y="92"/>
                  </a:lnTo>
                  <a:lnTo>
                    <a:pt x="50" y="94"/>
                  </a:lnTo>
                  <a:lnTo>
                    <a:pt x="56" y="94"/>
                  </a:lnTo>
                  <a:lnTo>
                    <a:pt x="56" y="94"/>
                  </a:lnTo>
                  <a:lnTo>
                    <a:pt x="64" y="94"/>
                  </a:lnTo>
                  <a:lnTo>
                    <a:pt x="68" y="92"/>
                  </a:lnTo>
                  <a:lnTo>
                    <a:pt x="74" y="88"/>
                  </a:lnTo>
                  <a:lnTo>
                    <a:pt x="78" y="84"/>
                  </a:lnTo>
                  <a:lnTo>
                    <a:pt x="82" y="72"/>
                  </a:lnTo>
                  <a:lnTo>
                    <a:pt x="82" y="58"/>
                  </a:lnTo>
                  <a:lnTo>
                    <a:pt x="82" y="5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38" name="Freeform 108"/>
            <p:cNvSpPr>
              <a:spLocks/>
            </p:cNvSpPr>
            <p:nvPr/>
          </p:nvSpPr>
          <p:spPr bwMode="auto">
            <a:xfrm>
              <a:off x="4648200" y="5302250"/>
              <a:ext cx="219075" cy="257175"/>
            </a:xfrm>
            <a:custGeom>
              <a:avLst/>
              <a:gdLst>
                <a:gd name="T0" fmla="*/ 116 w 138"/>
                <a:gd name="T1" fmla="*/ 50 h 162"/>
                <a:gd name="T2" fmla="*/ 112 w 138"/>
                <a:gd name="T3" fmla="*/ 36 h 162"/>
                <a:gd name="T4" fmla="*/ 102 w 138"/>
                <a:gd name="T5" fmla="*/ 26 h 162"/>
                <a:gd name="T6" fmla="*/ 88 w 138"/>
                <a:gd name="T7" fmla="*/ 20 h 162"/>
                <a:gd name="T8" fmla="*/ 74 w 138"/>
                <a:gd name="T9" fmla="*/ 18 h 162"/>
                <a:gd name="T10" fmla="*/ 50 w 138"/>
                <a:gd name="T11" fmla="*/ 22 h 162"/>
                <a:gd name="T12" fmla="*/ 34 w 138"/>
                <a:gd name="T13" fmla="*/ 36 h 162"/>
                <a:gd name="T14" fmla="*/ 24 w 138"/>
                <a:gd name="T15" fmla="*/ 56 h 162"/>
                <a:gd name="T16" fmla="*/ 20 w 138"/>
                <a:gd name="T17" fmla="*/ 80 h 162"/>
                <a:gd name="T18" fmla="*/ 22 w 138"/>
                <a:gd name="T19" fmla="*/ 92 h 162"/>
                <a:gd name="T20" fmla="*/ 28 w 138"/>
                <a:gd name="T21" fmla="*/ 116 h 162"/>
                <a:gd name="T22" fmla="*/ 40 w 138"/>
                <a:gd name="T23" fmla="*/ 134 h 162"/>
                <a:gd name="T24" fmla="*/ 60 w 138"/>
                <a:gd name="T25" fmla="*/ 144 h 162"/>
                <a:gd name="T26" fmla="*/ 74 w 138"/>
                <a:gd name="T27" fmla="*/ 144 h 162"/>
                <a:gd name="T28" fmla="*/ 92 w 138"/>
                <a:gd name="T29" fmla="*/ 142 h 162"/>
                <a:gd name="T30" fmla="*/ 106 w 138"/>
                <a:gd name="T31" fmla="*/ 132 h 162"/>
                <a:gd name="T32" fmla="*/ 114 w 138"/>
                <a:gd name="T33" fmla="*/ 118 h 162"/>
                <a:gd name="T34" fmla="*/ 118 w 138"/>
                <a:gd name="T35" fmla="*/ 100 h 162"/>
                <a:gd name="T36" fmla="*/ 138 w 138"/>
                <a:gd name="T37" fmla="*/ 100 h 162"/>
                <a:gd name="T38" fmla="*/ 132 w 138"/>
                <a:gd name="T39" fmla="*/ 126 h 162"/>
                <a:gd name="T40" fmla="*/ 118 w 138"/>
                <a:gd name="T41" fmla="*/ 146 h 162"/>
                <a:gd name="T42" fmla="*/ 98 w 138"/>
                <a:gd name="T43" fmla="*/ 158 h 162"/>
                <a:gd name="T44" fmla="*/ 72 w 138"/>
                <a:gd name="T45" fmla="*/ 162 h 162"/>
                <a:gd name="T46" fmla="*/ 54 w 138"/>
                <a:gd name="T47" fmla="*/ 160 h 162"/>
                <a:gd name="T48" fmla="*/ 28 w 138"/>
                <a:gd name="T49" fmla="*/ 148 h 162"/>
                <a:gd name="T50" fmla="*/ 10 w 138"/>
                <a:gd name="T51" fmla="*/ 126 h 162"/>
                <a:gd name="T52" fmla="*/ 2 w 138"/>
                <a:gd name="T53" fmla="*/ 98 h 162"/>
                <a:gd name="T54" fmla="*/ 0 w 138"/>
                <a:gd name="T55" fmla="*/ 82 h 162"/>
                <a:gd name="T56" fmla="*/ 4 w 138"/>
                <a:gd name="T57" fmla="*/ 50 h 162"/>
                <a:gd name="T58" fmla="*/ 18 w 138"/>
                <a:gd name="T59" fmla="*/ 24 h 162"/>
                <a:gd name="T60" fmla="*/ 42 w 138"/>
                <a:gd name="T61" fmla="*/ 6 h 162"/>
                <a:gd name="T62" fmla="*/ 74 w 138"/>
                <a:gd name="T63" fmla="*/ 0 h 162"/>
                <a:gd name="T64" fmla="*/ 86 w 138"/>
                <a:gd name="T65" fmla="*/ 0 h 162"/>
                <a:gd name="T66" fmla="*/ 106 w 138"/>
                <a:gd name="T67" fmla="*/ 6 h 162"/>
                <a:gd name="T68" fmla="*/ 124 w 138"/>
                <a:gd name="T69" fmla="*/ 20 h 162"/>
                <a:gd name="T70" fmla="*/ 134 w 138"/>
                <a:gd name="T71" fmla="*/ 38 h 162"/>
                <a:gd name="T72" fmla="*/ 116 w 138"/>
                <a:gd name="T73" fmla="*/ 5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8" h="162">
                  <a:moveTo>
                    <a:pt x="116" y="50"/>
                  </a:moveTo>
                  <a:lnTo>
                    <a:pt x="116" y="50"/>
                  </a:lnTo>
                  <a:lnTo>
                    <a:pt x="114" y="42"/>
                  </a:lnTo>
                  <a:lnTo>
                    <a:pt x="112" y="36"/>
                  </a:lnTo>
                  <a:lnTo>
                    <a:pt x="106" y="30"/>
                  </a:lnTo>
                  <a:lnTo>
                    <a:pt x="102" y="26"/>
                  </a:lnTo>
                  <a:lnTo>
                    <a:pt x="96" y="22"/>
                  </a:lnTo>
                  <a:lnTo>
                    <a:pt x="88" y="20"/>
                  </a:lnTo>
                  <a:lnTo>
                    <a:pt x="74" y="18"/>
                  </a:lnTo>
                  <a:lnTo>
                    <a:pt x="74" y="18"/>
                  </a:lnTo>
                  <a:lnTo>
                    <a:pt x="60" y="18"/>
                  </a:lnTo>
                  <a:lnTo>
                    <a:pt x="50" y="22"/>
                  </a:lnTo>
                  <a:lnTo>
                    <a:pt x="40" y="28"/>
                  </a:lnTo>
                  <a:lnTo>
                    <a:pt x="34" y="36"/>
                  </a:lnTo>
                  <a:lnTo>
                    <a:pt x="28" y="46"/>
                  </a:lnTo>
                  <a:lnTo>
                    <a:pt x="24" y="56"/>
                  </a:lnTo>
                  <a:lnTo>
                    <a:pt x="22" y="68"/>
                  </a:lnTo>
                  <a:lnTo>
                    <a:pt x="20" y="80"/>
                  </a:lnTo>
                  <a:lnTo>
                    <a:pt x="20" y="80"/>
                  </a:lnTo>
                  <a:lnTo>
                    <a:pt x="22" y="92"/>
                  </a:lnTo>
                  <a:lnTo>
                    <a:pt x="24" y="104"/>
                  </a:lnTo>
                  <a:lnTo>
                    <a:pt x="28" y="116"/>
                  </a:lnTo>
                  <a:lnTo>
                    <a:pt x="34" y="126"/>
                  </a:lnTo>
                  <a:lnTo>
                    <a:pt x="40" y="134"/>
                  </a:lnTo>
                  <a:lnTo>
                    <a:pt x="50" y="140"/>
                  </a:lnTo>
                  <a:lnTo>
                    <a:pt x="60" y="144"/>
                  </a:lnTo>
                  <a:lnTo>
                    <a:pt x="74" y="144"/>
                  </a:lnTo>
                  <a:lnTo>
                    <a:pt x="74" y="144"/>
                  </a:lnTo>
                  <a:lnTo>
                    <a:pt x="84" y="144"/>
                  </a:lnTo>
                  <a:lnTo>
                    <a:pt x="92" y="142"/>
                  </a:lnTo>
                  <a:lnTo>
                    <a:pt x="98" y="138"/>
                  </a:lnTo>
                  <a:lnTo>
                    <a:pt x="106" y="132"/>
                  </a:lnTo>
                  <a:lnTo>
                    <a:pt x="110" y="126"/>
                  </a:lnTo>
                  <a:lnTo>
                    <a:pt x="114" y="118"/>
                  </a:lnTo>
                  <a:lnTo>
                    <a:pt x="116" y="110"/>
                  </a:lnTo>
                  <a:lnTo>
                    <a:pt x="118" y="100"/>
                  </a:lnTo>
                  <a:lnTo>
                    <a:pt x="138" y="100"/>
                  </a:lnTo>
                  <a:lnTo>
                    <a:pt x="138" y="100"/>
                  </a:lnTo>
                  <a:lnTo>
                    <a:pt x="136" y="114"/>
                  </a:lnTo>
                  <a:lnTo>
                    <a:pt x="132" y="126"/>
                  </a:lnTo>
                  <a:lnTo>
                    <a:pt x="126" y="136"/>
                  </a:lnTo>
                  <a:lnTo>
                    <a:pt x="118" y="146"/>
                  </a:lnTo>
                  <a:lnTo>
                    <a:pt x="110" y="152"/>
                  </a:lnTo>
                  <a:lnTo>
                    <a:pt x="98" y="158"/>
                  </a:lnTo>
                  <a:lnTo>
                    <a:pt x="86" y="160"/>
                  </a:lnTo>
                  <a:lnTo>
                    <a:pt x="72" y="162"/>
                  </a:lnTo>
                  <a:lnTo>
                    <a:pt x="72" y="162"/>
                  </a:lnTo>
                  <a:lnTo>
                    <a:pt x="54" y="160"/>
                  </a:lnTo>
                  <a:lnTo>
                    <a:pt x="40" y="156"/>
                  </a:lnTo>
                  <a:lnTo>
                    <a:pt x="28" y="148"/>
                  </a:lnTo>
                  <a:lnTo>
                    <a:pt x="18" y="138"/>
                  </a:lnTo>
                  <a:lnTo>
                    <a:pt x="10" y="126"/>
                  </a:lnTo>
                  <a:lnTo>
                    <a:pt x="4" y="114"/>
                  </a:lnTo>
                  <a:lnTo>
                    <a:pt x="2" y="98"/>
                  </a:lnTo>
                  <a:lnTo>
                    <a:pt x="0" y="82"/>
                  </a:lnTo>
                  <a:lnTo>
                    <a:pt x="0" y="82"/>
                  </a:lnTo>
                  <a:lnTo>
                    <a:pt x="2" y="64"/>
                  </a:lnTo>
                  <a:lnTo>
                    <a:pt x="4" y="50"/>
                  </a:lnTo>
                  <a:lnTo>
                    <a:pt x="10" y="36"/>
                  </a:lnTo>
                  <a:lnTo>
                    <a:pt x="18" y="24"/>
                  </a:lnTo>
                  <a:lnTo>
                    <a:pt x="30" y="14"/>
                  </a:lnTo>
                  <a:lnTo>
                    <a:pt x="42" y="6"/>
                  </a:lnTo>
                  <a:lnTo>
                    <a:pt x="56" y="2"/>
                  </a:lnTo>
                  <a:lnTo>
                    <a:pt x="74" y="0"/>
                  </a:lnTo>
                  <a:lnTo>
                    <a:pt x="74" y="0"/>
                  </a:lnTo>
                  <a:lnTo>
                    <a:pt x="86" y="0"/>
                  </a:lnTo>
                  <a:lnTo>
                    <a:pt x="96" y="2"/>
                  </a:lnTo>
                  <a:lnTo>
                    <a:pt x="106" y="6"/>
                  </a:lnTo>
                  <a:lnTo>
                    <a:pt x="116" y="12"/>
                  </a:lnTo>
                  <a:lnTo>
                    <a:pt x="124" y="20"/>
                  </a:lnTo>
                  <a:lnTo>
                    <a:pt x="130" y="28"/>
                  </a:lnTo>
                  <a:lnTo>
                    <a:pt x="134" y="38"/>
                  </a:lnTo>
                  <a:lnTo>
                    <a:pt x="138" y="50"/>
                  </a:lnTo>
                  <a:lnTo>
                    <a:pt x="116" y="5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39" name="Freeform 109"/>
            <p:cNvSpPr>
              <a:spLocks noEditPoints="1"/>
            </p:cNvSpPr>
            <p:nvPr/>
          </p:nvSpPr>
          <p:spPr bwMode="auto">
            <a:xfrm>
              <a:off x="4895850" y="5372100"/>
              <a:ext cx="171450" cy="184150"/>
            </a:xfrm>
            <a:custGeom>
              <a:avLst/>
              <a:gdLst>
                <a:gd name="T0" fmla="*/ 54 w 108"/>
                <a:gd name="T1" fmla="*/ 0 h 116"/>
                <a:gd name="T2" fmla="*/ 78 w 108"/>
                <a:gd name="T3" fmla="*/ 4 h 116"/>
                <a:gd name="T4" fmla="*/ 94 w 108"/>
                <a:gd name="T5" fmla="*/ 16 h 116"/>
                <a:gd name="T6" fmla="*/ 104 w 108"/>
                <a:gd name="T7" fmla="*/ 36 h 116"/>
                <a:gd name="T8" fmla="*/ 108 w 108"/>
                <a:gd name="T9" fmla="*/ 58 h 116"/>
                <a:gd name="T10" fmla="*/ 108 w 108"/>
                <a:gd name="T11" fmla="*/ 70 h 116"/>
                <a:gd name="T12" fmla="*/ 100 w 108"/>
                <a:gd name="T13" fmla="*/ 92 h 116"/>
                <a:gd name="T14" fmla="*/ 86 w 108"/>
                <a:gd name="T15" fmla="*/ 108 h 116"/>
                <a:gd name="T16" fmla="*/ 66 w 108"/>
                <a:gd name="T17" fmla="*/ 116 h 116"/>
                <a:gd name="T18" fmla="*/ 54 w 108"/>
                <a:gd name="T19" fmla="*/ 116 h 116"/>
                <a:gd name="T20" fmla="*/ 30 w 108"/>
                <a:gd name="T21" fmla="*/ 112 h 116"/>
                <a:gd name="T22" fmla="*/ 14 w 108"/>
                <a:gd name="T23" fmla="*/ 100 h 116"/>
                <a:gd name="T24" fmla="*/ 2 w 108"/>
                <a:gd name="T25" fmla="*/ 82 h 116"/>
                <a:gd name="T26" fmla="*/ 0 w 108"/>
                <a:gd name="T27" fmla="*/ 58 h 116"/>
                <a:gd name="T28" fmla="*/ 0 w 108"/>
                <a:gd name="T29" fmla="*/ 46 h 116"/>
                <a:gd name="T30" fmla="*/ 8 w 108"/>
                <a:gd name="T31" fmla="*/ 26 h 116"/>
                <a:gd name="T32" fmla="*/ 20 w 108"/>
                <a:gd name="T33" fmla="*/ 10 h 116"/>
                <a:gd name="T34" fmla="*/ 42 w 108"/>
                <a:gd name="T35" fmla="*/ 0 h 116"/>
                <a:gd name="T36" fmla="*/ 54 w 108"/>
                <a:gd name="T37" fmla="*/ 0 h 116"/>
                <a:gd name="T38" fmla="*/ 54 w 108"/>
                <a:gd name="T39" fmla="*/ 100 h 116"/>
                <a:gd name="T40" fmla="*/ 68 w 108"/>
                <a:gd name="T41" fmla="*/ 98 h 116"/>
                <a:gd name="T42" fmla="*/ 78 w 108"/>
                <a:gd name="T43" fmla="*/ 90 h 116"/>
                <a:gd name="T44" fmla="*/ 86 w 108"/>
                <a:gd name="T45" fmla="*/ 76 h 116"/>
                <a:gd name="T46" fmla="*/ 88 w 108"/>
                <a:gd name="T47" fmla="*/ 58 h 116"/>
                <a:gd name="T48" fmla="*/ 88 w 108"/>
                <a:gd name="T49" fmla="*/ 48 h 116"/>
                <a:gd name="T50" fmla="*/ 82 w 108"/>
                <a:gd name="T51" fmla="*/ 32 h 116"/>
                <a:gd name="T52" fmla="*/ 74 w 108"/>
                <a:gd name="T53" fmla="*/ 22 h 116"/>
                <a:gd name="T54" fmla="*/ 60 w 108"/>
                <a:gd name="T55" fmla="*/ 16 h 116"/>
                <a:gd name="T56" fmla="*/ 54 w 108"/>
                <a:gd name="T57" fmla="*/ 16 h 116"/>
                <a:gd name="T58" fmla="*/ 40 w 108"/>
                <a:gd name="T59" fmla="*/ 18 h 116"/>
                <a:gd name="T60" fmla="*/ 30 w 108"/>
                <a:gd name="T61" fmla="*/ 26 h 116"/>
                <a:gd name="T62" fmla="*/ 22 w 108"/>
                <a:gd name="T63" fmla="*/ 40 h 116"/>
                <a:gd name="T64" fmla="*/ 18 w 108"/>
                <a:gd name="T65" fmla="*/ 58 h 116"/>
                <a:gd name="T66" fmla="*/ 20 w 108"/>
                <a:gd name="T67" fmla="*/ 68 h 116"/>
                <a:gd name="T68" fmla="*/ 24 w 108"/>
                <a:gd name="T69" fmla="*/ 84 h 116"/>
                <a:gd name="T70" fmla="*/ 34 w 108"/>
                <a:gd name="T71" fmla="*/ 94 h 116"/>
                <a:gd name="T72" fmla="*/ 46 w 108"/>
                <a:gd name="T73" fmla="*/ 100 h 116"/>
                <a:gd name="T74" fmla="*/ 54 w 108"/>
                <a:gd name="T75" fmla="*/ 10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16">
                  <a:moveTo>
                    <a:pt x="54" y="0"/>
                  </a:moveTo>
                  <a:lnTo>
                    <a:pt x="54" y="0"/>
                  </a:lnTo>
                  <a:lnTo>
                    <a:pt x="66" y="0"/>
                  </a:lnTo>
                  <a:lnTo>
                    <a:pt x="78" y="4"/>
                  </a:lnTo>
                  <a:lnTo>
                    <a:pt x="86" y="10"/>
                  </a:lnTo>
                  <a:lnTo>
                    <a:pt x="94" y="16"/>
                  </a:lnTo>
                  <a:lnTo>
                    <a:pt x="100" y="26"/>
                  </a:lnTo>
                  <a:lnTo>
                    <a:pt x="104" y="36"/>
                  </a:lnTo>
                  <a:lnTo>
                    <a:pt x="108" y="46"/>
                  </a:lnTo>
                  <a:lnTo>
                    <a:pt x="108" y="58"/>
                  </a:lnTo>
                  <a:lnTo>
                    <a:pt x="108" y="58"/>
                  </a:lnTo>
                  <a:lnTo>
                    <a:pt x="108" y="70"/>
                  </a:lnTo>
                  <a:lnTo>
                    <a:pt x="104" y="82"/>
                  </a:lnTo>
                  <a:lnTo>
                    <a:pt x="100" y="92"/>
                  </a:lnTo>
                  <a:lnTo>
                    <a:pt x="94" y="100"/>
                  </a:lnTo>
                  <a:lnTo>
                    <a:pt x="86" y="108"/>
                  </a:lnTo>
                  <a:lnTo>
                    <a:pt x="78" y="112"/>
                  </a:lnTo>
                  <a:lnTo>
                    <a:pt x="66" y="116"/>
                  </a:lnTo>
                  <a:lnTo>
                    <a:pt x="54" y="116"/>
                  </a:lnTo>
                  <a:lnTo>
                    <a:pt x="54" y="116"/>
                  </a:lnTo>
                  <a:lnTo>
                    <a:pt x="42" y="116"/>
                  </a:lnTo>
                  <a:lnTo>
                    <a:pt x="30" y="112"/>
                  </a:lnTo>
                  <a:lnTo>
                    <a:pt x="20" y="108"/>
                  </a:lnTo>
                  <a:lnTo>
                    <a:pt x="14" y="100"/>
                  </a:lnTo>
                  <a:lnTo>
                    <a:pt x="8" y="92"/>
                  </a:lnTo>
                  <a:lnTo>
                    <a:pt x="2" y="82"/>
                  </a:lnTo>
                  <a:lnTo>
                    <a:pt x="0" y="70"/>
                  </a:lnTo>
                  <a:lnTo>
                    <a:pt x="0" y="58"/>
                  </a:lnTo>
                  <a:lnTo>
                    <a:pt x="0" y="58"/>
                  </a:lnTo>
                  <a:lnTo>
                    <a:pt x="0" y="46"/>
                  </a:lnTo>
                  <a:lnTo>
                    <a:pt x="2" y="36"/>
                  </a:lnTo>
                  <a:lnTo>
                    <a:pt x="8" y="26"/>
                  </a:lnTo>
                  <a:lnTo>
                    <a:pt x="14" y="16"/>
                  </a:lnTo>
                  <a:lnTo>
                    <a:pt x="20" y="10"/>
                  </a:lnTo>
                  <a:lnTo>
                    <a:pt x="30" y="4"/>
                  </a:lnTo>
                  <a:lnTo>
                    <a:pt x="42" y="0"/>
                  </a:lnTo>
                  <a:lnTo>
                    <a:pt x="54" y="0"/>
                  </a:lnTo>
                  <a:lnTo>
                    <a:pt x="54" y="0"/>
                  </a:lnTo>
                  <a:close/>
                  <a:moveTo>
                    <a:pt x="54" y="100"/>
                  </a:moveTo>
                  <a:lnTo>
                    <a:pt x="54" y="100"/>
                  </a:lnTo>
                  <a:lnTo>
                    <a:pt x="60" y="100"/>
                  </a:lnTo>
                  <a:lnTo>
                    <a:pt x="68" y="98"/>
                  </a:lnTo>
                  <a:lnTo>
                    <a:pt x="74" y="94"/>
                  </a:lnTo>
                  <a:lnTo>
                    <a:pt x="78" y="90"/>
                  </a:lnTo>
                  <a:lnTo>
                    <a:pt x="82" y="84"/>
                  </a:lnTo>
                  <a:lnTo>
                    <a:pt x="86" y="76"/>
                  </a:lnTo>
                  <a:lnTo>
                    <a:pt x="88" y="68"/>
                  </a:lnTo>
                  <a:lnTo>
                    <a:pt x="88" y="58"/>
                  </a:lnTo>
                  <a:lnTo>
                    <a:pt x="88" y="58"/>
                  </a:lnTo>
                  <a:lnTo>
                    <a:pt x="88" y="48"/>
                  </a:lnTo>
                  <a:lnTo>
                    <a:pt x="86" y="40"/>
                  </a:lnTo>
                  <a:lnTo>
                    <a:pt x="82" y="32"/>
                  </a:lnTo>
                  <a:lnTo>
                    <a:pt x="78" y="26"/>
                  </a:lnTo>
                  <a:lnTo>
                    <a:pt x="74" y="22"/>
                  </a:lnTo>
                  <a:lnTo>
                    <a:pt x="68" y="18"/>
                  </a:lnTo>
                  <a:lnTo>
                    <a:pt x="60" y="16"/>
                  </a:lnTo>
                  <a:lnTo>
                    <a:pt x="54" y="16"/>
                  </a:lnTo>
                  <a:lnTo>
                    <a:pt x="54" y="16"/>
                  </a:lnTo>
                  <a:lnTo>
                    <a:pt x="46" y="16"/>
                  </a:lnTo>
                  <a:lnTo>
                    <a:pt x="40" y="18"/>
                  </a:lnTo>
                  <a:lnTo>
                    <a:pt x="34" y="22"/>
                  </a:lnTo>
                  <a:lnTo>
                    <a:pt x="30" y="26"/>
                  </a:lnTo>
                  <a:lnTo>
                    <a:pt x="24" y="32"/>
                  </a:lnTo>
                  <a:lnTo>
                    <a:pt x="22" y="40"/>
                  </a:lnTo>
                  <a:lnTo>
                    <a:pt x="20" y="48"/>
                  </a:lnTo>
                  <a:lnTo>
                    <a:pt x="18" y="58"/>
                  </a:lnTo>
                  <a:lnTo>
                    <a:pt x="18" y="58"/>
                  </a:lnTo>
                  <a:lnTo>
                    <a:pt x="20" y="68"/>
                  </a:lnTo>
                  <a:lnTo>
                    <a:pt x="22" y="76"/>
                  </a:lnTo>
                  <a:lnTo>
                    <a:pt x="24" y="84"/>
                  </a:lnTo>
                  <a:lnTo>
                    <a:pt x="30" y="90"/>
                  </a:lnTo>
                  <a:lnTo>
                    <a:pt x="34" y="94"/>
                  </a:lnTo>
                  <a:lnTo>
                    <a:pt x="40" y="98"/>
                  </a:lnTo>
                  <a:lnTo>
                    <a:pt x="46" y="100"/>
                  </a:lnTo>
                  <a:lnTo>
                    <a:pt x="54" y="100"/>
                  </a:lnTo>
                  <a:lnTo>
                    <a:pt x="54" y="10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40" name="Freeform 110"/>
            <p:cNvSpPr>
              <a:spLocks/>
            </p:cNvSpPr>
            <p:nvPr/>
          </p:nvSpPr>
          <p:spPr bwMode="auto">
            <a:xfrm>
              <a:off x="5102225" y="5372100"/>
              <a:ext cx="250825" cy="180975"/>
            </a:xfrm>
            <a:custGeom>
              <a:avLst/>
              <a:gdLst>
                <a:gd name="T0" fmla="*/ 0 w 158"/>
                <a:gd name="T1" fmla="*/ 2 h 114"/>
                <a:gd name="T2" fmla="*/ 18 w 158"/>
                <a:gd name="T3" fmla="*/ 2 h 114"/>
                <a:gd name="T4" fmla="*/ 18 w 158"/>
                <a:gd name="T5" fmla="*/ 18 h 114"/>
                <a:gd name="T6" fmla="*/ 18 w 158"/>
                <a:gd name="T7" fmla="*/ 18 h 114"/>
                <a:gd name="T8" fmla="*/ 18 w 158"/>
                <a:gd name="T9" fmla="*/ 18 h 114"/>
                <a:gd name="T10" fmla="*/ 24 w 158"/>
                <a:gd name="T11" fmla="*/ 10 h 114"/>
                <a:gd name="T12" fmla="*/ 34 w 158"/>
                <a:gd name="T13" fmla="*/ 4 h 114"/>
                <a:gd name="T14" fmla="*/ 42 w 158"/>
                <a:gd name="T15" fmla="*/ 0 h 114"/>
                <a:gd name="T16" fmla="*/ 54 w 158"/>
                <a:gd name="T17" fmla="*/ 0 h 114"/>
                <a:gd name="T18" fmla="*/ 54 w 158"/>
                <a:gd name="T19" fmla="*/ 0 h 114"/>
                <a:gd name="T20" fmla="*/ 64 w 158"/>
                <a:gd name="T21" fmla="*/ 0 h 114"/>
                <a:gd name="T22" fmla="*/ 72 w 158"/>
                <a:gd name="T23" fmla="*/ 4 h 114"/>
                <a:gd name="T24" fmla="*/ 80 w 158"/>
                <a:gd name="T25" fmla="*/ 10 h 114"/>
                <a:gd name="T26" fmla="*/ 84 w 158"/>
                <a:gd name="T27" fmla="*/ 18 h 114"/>
                <a:gd name="T28" fmla="*/ 84 w 158"/>
                <a:gd name="T29" fmla="*/ 18 h 114"/>
                <a:gd name="T30" fmla="*/ 92 w 158"/>
                <a:gd name="T31" fmla="*/ 10 h 114"/>
                <a:gd name="T32" fmla="*/ 100 w 158"/>
                <a:gd name="T33" fmla="*/ 4 h 114"/>
                <a:gd name="T34" fmla="*/ 110 w 158"/>
                <a:gd name="T35" fmla="*/ 0 h 114"/>
                <a:gd name="T36" fmla="*/ 120 w 158"/>
                <a:gd name="T37" fmla="*/ 0 h 114"/>
                <a:gd name="T38" fmla="*/ 120 w 158"/>
                <a:gd name="T39" fmla="*/ 0 h 114"/>
                <a:gd name="T40" fmla="*/ 136 w 158"/>
                <a:gd name="T41" fmla="*/ 2 h 114"/>
                <a:gd name="T42" fmla="*/ 142 w 158"/>
                <a:gd name="T43" fmla="*/ 4 h 114"/>
                <a:gd name="T44" fmla="*/ 146 w 158"/>
                <a:gd name="T45" fmla="*/ 8 h 114"/>
                <a:gd name="T46" fmla="*/ 152 w 158"/>
                <a:gd name="T47" fmla="*/ 12 h 114"/>
                <a:gd name="T48" fmla="*/ 154 w 158"/>
                <a:gd name="T49" fmla="*/ 18 h 114"/>
                <a:gd name="T50" fmla="*/ 156 w 158"/>
                <a:gd name="T51" fmla="*/ 24 h 114"/>
                <a:gd name="T52" fmla="*/ 158 w 158"/>
                <a:gd name="T53" fmla="*/ 32 h 114"/>
                <a:gd name="T54" fmla="*/ 158 w 158"/>
                <a:gd name="T55" fmla="*/ 114 h 114"/>
                <a:gd name="T56" fmla="*/ 138 w 158"/>
                <a:gd name="T57" fmla="*/ 114 h 114"/>
                <a:gd name="T58" fmla="*/ 138 w 158"/>
                <a:gd name="T59" fmla="*/ 40 h 114"/>
                <a:gd name="T60" fmla="*/ 138 w 158"/>
                <a:gd name="T61" fmla="*/ 40 h 114"/>
                <a:gd name="T62" fmla="*/ 138 w 158"/>
                <a:gd name="T63" fmla="*/ 32 h 114"/>
                <a:gd name="T64" fmla="*/ 134 w 158"/>
                <a:gd name="T65" fmla="*/ 24 h 114"/>
                <a:gd name="T66" fmla="*/ 132 w 158"/>
                <a:gd name="T67" fmla="*/ 20 h 114"/>
                <a:gd name="T68" fmla="*/ 128 w 158"/>
                <a:gd name="T69" fmla="*/ 18 h 114"/>
                <a:gd name="T70" fmla="*/ 118 w 158"/>
                <a:gd name="T71" fmla="*/ 16 h 114"/>
                <a:gd name="T72" fmla="*/ 118 w 158"/>
                <a:gd name="T73" fmla="*/ 16 h 114"/>
                <a:gd name="T74" fmla="*/ 106 w 158"/>
                <a:gd name="T75" fmla="*/ 18 h 114"/>
                <a:gd name="T76" fmla="*/ 96 w 158"/>
                <a:gd name="T77" fmla="*/ 24 h 114"/>
                <a:gd name="T78" fmla="*/ 90 w 158"/>
                <a:gd name="T79" fmla="*/ 32 h 114"/>
                <a:gd name="T80" fmla="*/ 88 w 158"/>
                <a:gd name="T81" fmla="*/ 44 h 114"/>
                <a:gd name="T82" fmla="*/ 88 w 158"/>
                <a:gd name="T83" fmla="*/ 114 h 114"/>
                <a:gd name="T84" fmla="*/ 70 w 158"/>
                <a:gd name="T85" fmla="*/ 114 h 114"/>
                <a:gd name="T86" fmla="*/ 70 w 158"/>
                <a:gd name="T87" fmla="*/ 40 h 114"/>
                <a:gd name="T88" fmla="*/ 70 w 158"/>
                <a:gd name="T89" fmla="*/ 40 h 114"/>
                <a:gd name="T90" fmla="*/ 68 w 158"/>
                <a:gd name="T91" fmla="*/ 30 h 114"/>
                <a:gd name="T92" fmla="*/ 66 w 158"/>
                <a:gd name="T93" fmla="*/ 22 h 114"/>
                <a:gd name="T94" fmla="*/ 58 w 158"/>
                <a:gd name="T95" fmla="*/ 18 h 114"/>
                <a:gd name="T96" fmla="*/ 48 w 158"/>
                <a:gd name="T97" fmla="*/ 16 h 114"/>
                <a:gd name="T98" fmla="*/ 48 w 158"/>
                <a:gd name="T99" fmla="*/ 16 h 114"/>
                <a:gd name="T100" fmla="*/ 40 w 158"/>
                <a:gd name="T101" fmla="*/ 16 h 114"/>
                <a:gd name="T102" fmla="*/ 34 w 158"/>
                <a:gd name="T103" fmla="*/ 20 h 114"/>
                <a:gd name="T104" fmla="*/ 30 w 158"/>
                <a:gd name="T105" fmla="*/ 22 h 114"/>
                <a:gd name="T106" fmla="*/ 26 w 158"/>
                <a:gd name="T107" fmla="*/ 28 h 114"/>
                <a:gd name="T108" fmla="*/ 20 w 158"/>
                <a:gd name="T109" fmla="*/ 36 h 114"/>
                <a:gd name="T110" fmla="*/ 18 w 158"/>
                <a:gd name="T111" fmla="*/ 44 h 114"/>
                <a:gd name="T112" fmla="*/ 18 w 158"/>
                <a:gd name="T113" fmla="*/ 114 h 114"/>
                <a:gd name="T114" fmla="*/ 0 w 158"/>
                <a:gd name="T115" fmla="*/ 114 h 114"/>
                <a:gd name="T116" fmla="*/ 0 w 158"/>
                <a:gd name="T117" fmla="*/ 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8" h="114">
                  <a:moveTo>
                    <a:pt x="0" y="2"/>
                  </a:moveTo>
                  <a:lnTo>
                    <a:pt x="18" y="2"/>
                  </a:lnTo>
                  <a:lnTo>
                    <a:pt x="18" y="18"/>
                  </a:lnTo>
                  <a:lnTo>
                    <a:pt x="18" y="18"/>
                  </a:lnTo>
                  <a:lnTo>
                    <a:pt x="18" y="18"/>
                  </a:lnTo>
                  <a:lnTo>
                    <a:pt x="24" y="10"/>
                  </a:lnTo>
                  <a:lnTo>
                    <a:pt x="34" y="4"/>
                  </a:lnTo>
                  <a:lnTo>
                    <a:pt x="42" y="0"/>
                  </a:lnTo>
                  <a:lnTo>
                    <a:pt x="54" y="0"/>
                  </a:lnTo>
                  <a:lnTo>
                    <a:pt x="54" y="0"/>
                  </a:lnTo>
                  <a:lnTo>
                    <a:pt x="64" y="0"/>
                  </a:lnTo>
                  <a:lnTo>
                    <a:pt x="72" y="4"/>
                  </a:lnTo>
                  <a:lnTo>
                    <a:pt x="80" y="10"/>
                  </a:lnTo>
                  <a:lnTo>
                    <a:pt x="84" y="18"/>
                  </a:lnTo>
                  <a:lnTo>
                    <a:pt x="84" y="18"/>
                  </a:lnTo>
                  <a:lnTo>
                    <a:pt x="92" y="10"/>
                  </a:lnTo>
                  <a:lnTo>
                    <a:pt x="100" y="4"/>
                  </a:lnTo>
                  <a:lnTo>
                    <a:pt x="110" y="0"/>
                  </a:lnTo>
                  <a:lnTo>
                    <a:pt x="120" y="0"/>
                  </a:lnTo>
                  <a:lnTo>
                    <a:pt x="120" y="0"/>
                  </a:lnTo>
                  <a:lnTo>
                    <a:pt x="136" y="2"/>
                  </a:lnTo>
                  <a:lnTo>
                    <a:pt x="142" y="4"/>
                  </a:lnTo>
                  <a:lnTo>
                    <a:pt x="146" y="8"/>
                  </a:lnTo>
                  <a:lnTo>
                    <a:pt x="152" y="12"/>
                  </a:lnTo>
                  <a:lnTo>
                    <a:pt x="154" y="18"/>
                  </a:lnTo>
                  <a:lnTo>
                    <a:pt x="156" y="24"/>
                  </a:lnTo>
                  <a:lnTo>
                    <a:pt x="158" y="32"/>
                  </a:lnTo>
                  <a:lnTo>
                    <a:pt x="158" y="114"/>
                  </a:lnTo>
                  <a:lnTo>
                    <a:pt x="138" y="114"/>
                  </a:lnTo>
                  <a:lnTo>
                    <a:pt x="138" y="40"/>
                  </a:lnTo>
                  <a:lnTo>
                    <a:pt x="138" y="40"/>
                  </a:lnTo>
                  <a:lnTo>
                    <a:pt x="138" y="32"/>
                  </a:lnTo>
                  <a:lnTo>
                    <a:pt x="134" y="24"/>
                  </a:lnTo>
                  <a:lnTo>
                    <a:pt x="132" y="20"/>
                  </a:lnTo>
                  <a:lnTo>
                    <a:pt x="128" y="18"/>
                  </a:lnTo>
                  <a:lnTo>
                    <a:pt x="118" y="16"/>
                  </a:lnTo>
                  <a:lnTo>
                    <a:pt x="118" y="16"/>
                  </a:lnTo>
                  <a:lnTo>
                    <a:pt x="106" y="18"/>
                  </a:lnTo>
                  <a:lnTo>
                    <a:pt x="96" y="24"/>
                  </a:lnTo>
                  <a:lnTo>
                    <a:pt x="90" y="32"/>
                  </a:lnTo>
                  <a:lnTo>
                    <a:pt x="88" y="44"/>
                  </a:lnTo>
                  <a:lnTo>
                    <a:pt x="88" y="114"/>
                  </a:lnTo>
                  <a:lnTo>
                    <a:pt x="70" y="114"/>
                  </a:lnTo>
                  <a:lnTo>
                    <a:pt x="70" y="40"/>
                  </a:lnTo>
                  <a:lnTo>
                    <a:pt x="70" y="40"/>
                  </a:lnTo>
                  <a:lnTo>
                    <a:pt x="68" y="30"/>
                  </a:lnTo>
                  <a:lnTo>
                    <a:pt x="66" y="22"/>
                  </a:lnTo>
                  <a:lnTo>
                    <a:pt x="58" y="18"/>
                  </a:lnTo>
                  <a:lnTo>
                    <a:pt x="48" y="16"/>
                  </a:lnTo>
                  <a:lnTo>
                    <a:pt x="48" y="16"/>
                  </a:lnTo>
                  <a:lnTo>
                    <a:pt x="40" y="16"/>
                  </a:lnTo>
                  <a:lnTo>
                    <a:pt x="34" y="20"/>
                  </a:lnTo>
                  <a:lnTo>
                    <a:pt x="30" y="22"/>
                  </a:lnTo>
                  <a:lnTo>
                    <a:pt x="26" y="28"/>
                  </a:lnTo>
                  <a:lnTo>
                    <a:pt x="20" y="36"/>
                  </a:lnTo>
                  <a:lnTo>
                    <a:pt x="18" y="44"/>
                  </a:lnTo>
                  <a:lnTo>
                    <a:pt x="18" y="114"/>
                  </a:lnTo>
                  <a:lnTo>
                    <a:pt x="0" y="114"/>
                  </a:lnTo>
                  <a:lnTo>
                    <a:pt x="0" y="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41" name="Freeform 111"/>
            <p:cNvSpPr>
              <a:spLocks noEditPoints="1"/>
            </p:cNvSpPr>
            <p:nvPr/>
          </p:nvSpPr>
          <p:spPr bwMode="auto">
            <a:xfrm>
              <a:off x="5397500" y="5372100"/>
              <a:ext cx="168275" cy="250825"/>
            </a:xfrm>
            <a:custGeom>
              <a:avLst/>
              <a:gdLst>
                <a:gd name="T0" fmla="*/ 18 w 106"/>
                <a:gd name="T1" fmla="*/ 2 h 158"/>
                <a:gd name="T2" fmla="*/ 18 w 106"/>
                <a:gd name="T3" fmla="*/ 18 h 158"/>
                <a:gd name="T4" fmla="*/ 24 w 106"/>
                <a:gd name="T5" fmla="*/ 10 h 158"/>
                <a:gd name="T6" fmla="*/ 44 w 106"/>
                <a:gd name="T7" fmla="*/ 0 h 158"/>
                <a:gd name="T8" fmla="*/ 54 w 106"/>
                <a:gd name="T9" fmla="*/ 0 h 158"/>
                <a:gd name="T10" fmla="*/ 78 w 106"/>
                <a:gd name="T11" fmla="*/ 4 h 158"/>
                <a:gd name="T12" fmla="*/ 94 w 106"/>
                <a:gd name="T13" fmla="*/ 18 h 158"/>
                <a:gd name="T14" fmla="*/ 102 w 106"/>
                <a:gd name="T15" fmla="*/ 36 h 158"/>
                <a:gd name="T16" fmla="*/ 106 w 106"/>
                <a:gd name="T17" fmla="*/ 58 h 158"/>
                <a:gd name="T18" fmla="*/ 106 w 106"/>
                <a:gd name="T19" fmla="*/ 70 h 158"/>
                <a:gd name="T20" fmla="*/ 98 w 106"/>
                <a:gd name="T21" fmla="*/ 92 h 158"/>
                <a:gd name="T22" fmla="*/ 86 w 106"/>
                <a:gd name="T23" fmla="*/ 106 h 158"/>
                <a:gd name="T24" fmla="*/ 66 w 106"/>
                <a:gd name="T25" fmla="*/ 116 h 158"/>
                <a:gd name="T26" fmla="*/ 54 w 106"/>
                <a:gd name="T27" fmla="*/ 116 h 158"/>
                <a:gd name="T28" fmla="*/ 36 w 106"/>
                <a:gd name="T29" fmla="*/ 114 h 158"/>
                <a:gd name="T30" fmla="*/ 18 w 106"/>
                <a:gd name="T31" fmla="*/ 100 h 158"/>
                <a:gd name="T32" fmla="*/ 18 w 106"/>
                <a:gd name="T33" fmla="*/ 158 h 158"/>
                <a:gd name="T34" fmla="*/ 0 w 106"/>
                <a:gd name="T35" fmla="*/ 2 h 158"/>
                <a:gd name="T36" fmla="*/ 52 w 106"/>
                <a:gd name="T37" fmla="*/ 16 h 158"/>
                <a:gd name="T38" fmla="*/ 36 w 106"/>
                <a:gd name="T39" fmla="*/ 20 h 158"/>
                <a:gd name="T40" fmla="*/ 26 w 106"/>
                <a:gd name="T41" fmla="*/ 30 h 158"/>
                <a:gd name="T42" fmla="*/ 20 w 106"/>
                <a:gd name="T43" fmla="*/ 42 h 158"/>
                <a:gd name="T44" fmla="*/ 18 w 106"/>
                <a:gd name="T45" fmla="*/ 58 h 158"/>
                <a:gd name="T46" fmla="*/ 22 w 106"/>
                <a:gd name="T47" fmla="*/ 82 h 158"/>
                <a:gd name="T48" fmla="*/ 30 w 106"/>
                <a:gd name="T49" fmla="*/ 94 h 158"/>
                <a:gd name="T50" fmla="*/ 44 w 106"/>
                <a:gd name="T51" fmla="*/ 100 h 158"/>
                <a:gd name="T52" fmla="*/ 52 w 106"/>
                <a:gd name="T53" fmla="*/ 100 h 158"/>
                <a:gd name="T54" fmla="*/ 68 w 106"/>
                <a:gd name="T55" fmla="*/ 98 h 158"/>
                <a:gd name="T56" fmla="*/ 80 w 106"/>
                <a:gd name="T57" fmla="*/ 88 h 158"/>
                <a:gd name="T58" fmla="*/ 84 w 106"/>
                <a:gd name="T59" fmla="*/ 74 h 158"/>
                <a:gd name="T60" fmla="*/ 86 w 106"/>
                <a:gd name="T61" fmla="*/ 58 h 158"/>
                <a:gd name="T62" fmla="*/ 82 w 106"/>
                <a:gd name="T63" fmla="*/ 34 h 158"/>
                <a:gd name="T64" fmla="*/ 74 w 106"/>
                <a:gd name="T65" fmla="*/ 24 h 158"/>
                <a:gd name="T66" fmla="*/ 60 w 106"/>
                <a:gd name="T67" fmla="*/ 16 h 158"/>
                <a:gd name="T68" fmla="*/ 52 w 106"/>
                <a:gd name="T69" fmla="*/ 1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58">
                  <a:moveTo>
                    <a:pt x="0" y="2"/>
                  </a:moveTo>
                  <a:lnTo>
                    <a:pt x="18" y="2"/>
                  </a:lnTo>
                  <a:lnTo>
                    <a:pt x="18" y="18"/>
                  </a:lnTo>
                  <a:lnTo>
                    <a:pt x="18" y="18"/>
                  </a:lnTo>
                  <a:lnTo>
                    <a:pt x="18" y="18"/>
                  </a:lnTo>
                  <a:lnTo>
                    <a:pt x="24" y="10"/>
                  </a:lnTo>
                  <a:lnTo>
                    <a:pt x="34" y="4"/>
                  </a:lnTo>
                  <a:lnTo>
                    <a:pt x="44" y="0"/>
                  </a:lnTo>
                  <a:lnTo>
                    <a:pt x="54" y="0"/>
                  </a:lnTo>
                  <a:lnTo>
                    <a:pt x="54" y="0"/>
                  </a:lnTo>
                  <a:lnTo>
                    <a:pt x="66" y="0"/>
                  </a:lnTo>
                  <a:lnTo>
                    <a:pt x="78" y="4"/>
                  </a:lnTo>
                  <a:lnTo>
                    <a:pt x="86" y="10"/>
                  </a:lnTo>
                  <a:lnTo>
                    <a:pt x="94" y="18"/>
                  </a:lnTo>
                  <a:lnTo>
                    <a:pt x="98" y="26"/>
                  </a:lnTo>
                  <a:lnTo>
                    <a:pt x="102" y="36"/>
                  </a:lnTo>
                  <a:lnTo>
                    <a:pt x="106" y="46"/>
                  </a:lnTo>
                  <a:lnTo>
                    <a:pt x="106" y="58"/>
                  </a:lnTo>
                  <a:lnTo>
                    <a:pt x="106" y="58"/>
                  </a:lnTo>
                  <a:lnTo>
                    <a:pt x="106" y="70"/>
                  </a:lnTo>
                  <a:lnTo>
                    <a:pt x="102" y="82"/>
                  </a:lnTo>
                  <a:lnTo>
                    <a:pt x="98" y="92"/>
                  </a:lnTo>
                  <a:lnTo>
                    <a:pt x="94" y="100"/>
                  </a:lnTo>
                  <a:lnTo>
                    <a:pt x="86" y="106"/>
                  </a:lnTo>
                  <a:lnTo>
                    <a:pt x="78" y="112"/>
                  </a:lnTo>
                  <a:lnTo>
                    <a:pt x="66" y="116"/>
                  </a:lnTo>
                  <a:lnTo>
                    <a:pt x="54" y="116"/>
                  </a:lnTo>
                  <a:lnTo>
                    <a:pt x="54" y="116"/>
                  </a:lnTo>
                  <a:lnTo>
                    <a:pt x="46" y="116"/>
                  </a:lnTo>
                  <a:lnTo>
                    <a:pt x="36" y="114"/>
                  </a:lnTo>
                  <a:lnTo>
                    <a:pt x="26" y="108"/>
                  </a:lnTo>
                  <a:lnTo>
                    <a:pt x="18" y="100"/>
                  </a:lnTo>
                  <a:lnTo>
                    <a:pt x="18" y="100"/>
                  </a:lnTo>
                  <a:lnTo>
                    <a:pt x="18" y="158"/>
                  </a:lnTo>
                  <a:lnTo>
                    <a:pt x="0" y="158"/>
                  </a:lnTo>
                  <a:lnTo>
                    <a:pt x="0" y="2"/>
                  </a:lnTo>
                  <a:close/>
                  <a:moveTo>
                    <a:pt x="52" y="16"/>
                  </a:moveTo>
                  <a:lnTo>
                    <a:pt x="52" y="16"/>
                  </a:lnTo>
                  <a:lnTo>
                    <a:pt x="44" y="16"/>
                  </a:lnTo>
                  <a:lnTo>
                    <a:pt x="36" y="20"/>
                  </a:lnTo>
                  <a:lnTo>
                    <a:pt x="30" y="24"/>
                  </a:lnTo>
                  <a:lnTo>
                    <a:pt x="26" y="30"/>
                  </a:lnTo>
                  <a:lnTo>
                    <a:pt x="22" y="36"/>
                  </a:lnTo>
                  <a:lnTo>
                    <a:pt x="20" y="42"/>
                  </a:lnTo>
                  <a:lnTo>
                    <a:pt x="18" y="58"/>
                  </a:lnTo>
                  <a:lnTo>
                    <a:pt x="18" y="58"/>
                  </a:lnTo>
                  <a:lnTo>
                    <a:pt x="20" y="74"/>
                  </a:lnTo>
                  <a:lnTo>
                    <a:pt x="22" y="82"/>
                  </a:lnTo>
                  <a:lnTo>
                    <a:pt x="26" y="88"/>
                  </a:lnTo>
                  <a:lnTo>
                    <a:pt x="30" y="94"/>
                  </a:lnTo>
                  <a:lnTo>
                    <a:pt x="36" y="98"/>
                  </a:lnTo>
                  <a:lnTo>
                    <a:pt x="44" y="100"/>
                  </a:lnTo>
                  <a:lnTo>
                    <a:pt x="52" y="100"/>
                  </a:lnTo>
                  <a:lnTo>
                    <a:pt x="52" y="100"/>
                  </a:lnTo>
                  <a:lnTo>
                    <a:pt x="62" y="100"/>
                  </a:lnTo>
                  <a:lnTo>
                    <a:pt x="68" y="98"/>
                  </a:lnTo>
                  <a:lnTo>
                    <a:pt x="74" y="92"/>
                  </a:lnTo>
                  <a:lnTo>
                    <a:pt x="80" y="88"/>
                  </a:lnTo>
                  <a:lnTo>
                    <a:pt x="82" y="80"/>
                  </a:lnTo>
                  <a:lnTo>
                    <a:pt x="84" y="74"/>
                  </a:lnTo>
                  <a:lnTo>
                    <a:pt x="86" y="58"/>
                  </a:lnTo>
                  <a:lnTo>
                    <a:pt x="86" y="58"/>
                  </a:lnTo>
                  <a:lnTo>
                    <a:pt x="84" y="42"/>
                  </a:lnTo>
                  <a:lnTo>
                    <a:pt x="82" y="34"/>
                  </a:lnTo>
                  <a:lnTo>
                    <a:pt x="78" y="28"/>
                  </a:lnTo>
                  <a:lnTo>
                    <a:pt x="74" y="24"/>
                  </a:lnTo>
                  <a:lnTo>
                    <a:pt x="68" y="20"/>
                  </a:lnTo>
                  <a:lnTo>
                    <a:pt x="60" y="16"/>
                  </a:lnTo>
                  <a:lnTo>
                    <a:pt x="52" y="16"/>
                  </a:lnTo>
                  <a:lnTo>
                    <a:pt x="52" y="16"/>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42" name="Freeform 112"/>
            <p:cNvSpPr>
              <a:spLocks noEditPoints="1"/>
            </p:cNvSpPr>
            <p:nvPr/>
          </p:nvSpPr>
          <p:spPr bwMode="auto">
            <a:xfrm>
              <a:off x="5591175" y="5372100"/>
              <a:ext cx="165100" cy="184150"/>
            </a:xfrm>
            <a:custGeom>
              <a:avLst/>
              <a:gdLst>
                <a:gd name="T0" fmla="*/ 102 w 104"/>
                <a:gd name="T1" fmla="*/ 78 h 116"/>
                <a:gd name="T2" fmla="*/ 96 w 104"/>
                <a:gd name="T3" fmla="*/ 96 h 116"/>
                <a:gd name="T4" fmla="*/ 86 w 104"/>
                <a:gd name="T5" fmla="*/ 108 h 116"/>
                <a:gd name="T6" fmla="*/ 70 w 104"/>
                <a:gd name="T7" fmla="*/ 114 h 116"/>
                <a:gd name="T8" fmla="*/ 54 w 104"/>
                <a:gd name="T9" fmla="*/ 116 h 116"/>
                <a:gd name="T10" fmla="*/ 40 w 104"/>
                <a:gd name="T11" fmla="*/ 116 h 116"/>
                <a:gd name="T12" fmla="*/ 22 w 104"/>
                <a:gd name="T13" fmla="*/ 108 h 116"/>
                <a:gd name="T14" fmla="*/ 8 w 104"/>
                <a:gd name="T15" fmla="*/ 92 h 116"/>
                <a:gd name="T16" fmla="*/ 0 w 104"/>
                <a:gd name="T17" fmla="*/ 70 h 116"/>
                <a:gd name="T18" fmla="*/ 0 w 104"/>
                <a:gd name="T19" fmla="*/ 58 h 116"/>
                <a:gd name="T20" fmla="*/ 4 w 104"/>
                <a:gd name="T21" fmla="*/ 34 h 116"/>
                <a:gd name="T22" fmla="*/ 14 w 104"/>
                <a:gd name="T23" fmla="*/ 16 h 116"/>
                <a:gd name="T24" fmla="*/ 32 w 104"/>
                <a:gd name="T25" fmla="*/ 4 h 116"/>
                <a:gd name="T26" fmla="*/ 52 w 104"/>
                <a:gd name="T27" fmla="*/ 0 h 116"/>
                <a:gd name="T28" fmla="*/ 66 w 104"/>
                <a:gd name="T29" fmla="*/ 2 h 116"/>
                <a:gd name="T30" fmla="*/ 86 w 104"/>
                <a:gd name="T31" fmla="*/ 12 h 116"/>
                <a:gd name="T32" fmla="*/ 98 w 104"/>
                <a:gd name="T33" fmla="*/ 32 h 116"/>
                <a:gd name="T34" fmla="*/ 102 w 104"/>
                <a:gd name="T35" fmla="*/ 54 h 116"/>
                <a:gd name="T36" fmla="*/ 20 w 104"/>
                <a:gd name="T37" fmla="*/ 64 h 116"/>
                <a:gd name="T38" fmla="*/ 20 w 104"/>
                <a:gd name="T39" fmla="*/ 78 h 116"/>
                <a:gd name="T40" fmla="*/ 28 w 104"/>
                <a:gd name="T41" fmla="*/ 90 h 116"/>
                <a:gd name="T42" fmla="*/ 38 w 104"/>
                <a:gd name="T43" fmla="*/ 98 h 116"/>
                <a:gd name="T44" fmla="*/ 54 w 104"/>
                <a:gd name="T45" fmla="*/ 100 h 116"/>
                <a:gd name="T46" fmla="*/ 64 w 104"/>
                <a:gd name="T47" fmla="*/ 100 h 116"/>
                <a:gd name="T48" fmla="*/ 80 w 104"/>
                <a:gd name="T49" fmla="*/ 88 h 116"/>
                <a:gd name="T50" fmla="*/ 102 w 104"/>
                <a:gd name="T51" fmla="*/ 78 h 116"/>
                <a:gd name="T52" fmla="*/ 84 w 104"/>
                <a:gd name="T53" fmla="*/ 48 h 116"/>
                <a:gd name="T54" fmla="*/ 74 w 104"/>
                <a:gd name="T55" fmla="*/ 26 h 116"/>
                <a:gd name="T56" fmla="*/ 64 w 104"/>
                <a:gd name="T57" fmla="*/ 18 h 116"/>
                <a:gd name="T58" fmla="*/ 52 w 104"/>
                <a:gd name="T59" fmla="*/ 16 h 116"/>
                <a:gd name="T60" fmla="*/ 44 w 104"/>
                <a:gd name="T61" fmla="*/ 16 h 116"/>
                <a:gd name="T62" fmla="*/ 34 w 104"/>
                <a:gd name="T63" fmla="*/ 22 h 116"/>
                <a:gd name="T64" fmla="*/ 22 w 104"/>
                <a:gd name="T65" fmla="*/ 36 h 116"/>
                <a:gd name="T66" fmla="*/ 84 w 104"/>
                <a:gd name="T67" fmla="*/ 4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4" h="116">
                  <a:moveTo>
                    <a:pt x="102" y="78"/>
                  </a:moveTo>
                  <a:lnTo>
                    <a:pt x="102" y="78"/>
                  </a:lnTo>
                  <a:lnTo>
                    <a:pt x="100" y="88"/>
                  </a:lnTo>
                  <a:lnTo>
                    <a:pt x="96" y="96"/>
                  </a:lnTo>
                  <a:lnTo>
                    <a:pt x="90" y="102"/>
                  </a:lnTo>
                  <a:lnTo>
                    <a:pt x="86" y="108"/>
                  </a:lnTo>
                  <a:lnTo>
                    <a:pt x="78" y="112"/>
                  </a:lnTo>
                  <a:lnTo>
                    <a:pt x="70" y="114"/>
                  </a:lnTo>
                  <a:lnTo>
                    <a:pt x="62" y="116"/>
                  </a:lnTo>
                  <a:lnTo>
                    <a:pt x="54" y="116"/>
                  </a:lnTo>
                  <a:lnTo>
                    <a:pt x="54" y="116"/>
                  </a:lnTo>
                  <a:lnTo>
                    <a:pt x="40" y="116"/>
                  </a:lnTo>
                  <a:lnTo>
                    <a:pt x="30" y="112"/>
                  </a:lnTo>
                  <a:lnTo>
                    <a:pt x="22" y="108"/>
                  </a:lnTo>
                  <a:lnTo>
                    <a:pt x="14" y="100"/>
                  </a:lnTo>
                  <a:lnTo>
                    <a:pt x="8" y="92"/>
                  </a:lnTo>
                  <a:lnTo>
                    <a:pt x="4" y="82"/>
                  </a:lnTo>
                  <a:lnTo>
                    <a:pt x="0" y="70"/>
                  </a:lnTo>
                  <a:lnTo>
                    <a:pt x="0" y="58"/>
                  </a:lnTo>
                  <a:lnTo>
                    <a:pt x="0" y="58"/>
                  </a:lnTo>
                  <a:lnTo>
                    <a:pt x="0" y="46"/>
                  </a:lnTo>
                  <a:lnTo>
                    <a:pt x="4" y="34"/>
                  </a:lnTo>
                  <a:lnTo>
                    <a:pt x="8" y="24"/>
                  </a:lnTo>
                  <a:lnTo>
                    <a:pt x="14" y="16"/>
                  </a:lnTo>
                  <a:lnTo>
                    <a:pt x="22" y="10"/>
                  </a:lnTo>
                  <a:lnTo>
                    <a:pt x="32" y="4"/>
                  </a:lnTo>
                  <a:lnTo>
                    <a:pt x="42" y="0"/>
                  </a:lnTo>
                  <a:lnTo>
                    <a:pt x="52" y="0"/>
                  </a:lnTo>
                  <a:lnTo>
                    <a:pt x="52" y="0"/>
                  </a:lnTo>
                  <a:lnTo>
                    <a:pt x="66" y="2"/>
                  </a:lnTo>
                  <a:lnTo>
                    <a:pt x="78" y="6"/>
                  </a:lnTo>
                  <a:lnTo>
                    <a:pt x="86" y="12"/>
                  </a:lnTo>
                  <a:lnTo>
                    <a:pt x="94" y="22"/>
                  </a:lnTo>
                  <a:lnTo>
                    <a:pt x="98" y="32"/>
                  </a:lnTo>
                  <a:lnTo>
                    <a:pt x="102" y="42"/>
                  </a:lnTo>
                  <a:lnTo>
                    <a:pt x="102" y="54"/>
                  </a:lnTo>
                  <a:lnTo>
                    <a:pt x="104" y="64"/>
                  </a:lnTo>
                  <a:lnTo>
                    <a:pt x="20" y="64"/>
                  </a:lnTo>
                  <a:lnTo>
                    <a:pt x="20" y="64"/>
                  </a:lnTo>
                  <a:lnTo>
                    <a:pt x="20" y="78"/>
                  </a:lnTo>
                  <a:lnTo>
                    <a:pt x="24" y="84"/>
                  </a:lnTo>
                  <a:lnTo>
                    <a:pt x="28" y="90"/>
                  </a:lnTo>
                  <a:lnTo>
                    <a:pt x="32" y="94"/>
                  </a:lnTo>
                  <a:lnTo>
                    <a:pt x="38" y="98"/>
                  </a:lnTo>
                  <a:lnTo>
                    <a:pt x="46" y="100"/>
                  </a:lnTo>
                  <a:lnTo>
                    <a:pt x="54" y="100"/>
                  </a:lnTo>
                  <a:lnTo>
                    <a:pt x="54" y="100"/>
                  </a:lnTo>
                  <a:lnTo>
                    <a:pt x="64" y="100"/>
                  </a:lnTo>
                  <a:lnTo>
                    <a:pt x="74" y="96"/>
                  </a:lnTo>
                  <a:lnTo>
                    <a:pt x="80" y="88"/>
                  </a:lnTo>
                  <a:lnTo>
                    <a:pt x="84" y="78"/>
                  </a:lnTo>
                  <a:lnTo>
                    <a:pt x="102" y="78"/>
                  </a:lnTo>
                  <a:close/>
                  <a:moveTo>
                    <a:pt x="84" y="48"/>
                  </a:moveTo>
                  <a:lnTo>
                    <a:pt x="84" y="48"/>
                  </a:lnTo>
                  <a:lnTo>
                    <a:pt x="80" y="36"/>
                  </a:lnTo>
                  <a:lnTo>
                    <a:pt x="74" y="26"/>
                  </a:lnTo>
                  <a:lnTo>
                    <a:pt x="70" y="22"/>
                  </a:lnTo>
                  <a:lnTo>
                    <a:pt x="64" y="18"/>
                  </a:lnTo>
                  <a:lnTo>
                    <a:pt x="58" y="16"/>
                  </a:lnTo>
                  <a:lnTo>
                    <a:pt x="52" y="16"/>
                  </a:lnTo>
                  <a:lnTo>
                    <a:pt x="52" y="16"/>
                  </a:lnTo>
                  <a:lnTo>
                    <a:pt x="44" y="16"/>
                  </a:lnTo>
                  <a:lnTo>
                    <a:pt x="38" y="18"/>
                  </a:lnTo>
                  <a:lnTo>
                    <a:pt x="34" y="22"/>
                  </a:lnTo>
                  <a:lnTo>
                    <a:pt x="28" y="26"/>
                  </a:lnTo>
                  <a:lnTo>
                    <a:pt x="22" y="36"/>
                  </a:lnTo>
                  <a:lnTo>
                    <a:pt x="20" y="48"/>
                  </a:lnTo>
                  <a:lnTo>
                    <a:pt x="84" y="4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43" name="Freeform 113"/>
            <p:cNvSpPr>
              <a:spLocks/>
            </p:cNvSpPr>
            <p:nvPr/>
          </p:nvSpPr>
          <p:spPr bwMode="auto">
            <a:xfrm>
              <a:off x="5765800" y="5321300"/>
              <a:ext cx="95250" cy="231775"/>
            </a:xfrm>
            <a:custGeom>
              <a:avLst/>
              <a:gdLst>
                <a:gd name="T0" fmla="*/ 38 w 60"/>
                <a:gd name="T1" fmla="*/ 34 h 146"/>
                <a:gd name="T2" fmla="*/ 60 w 60"/>
                <a:gd name="T3" fmla="*/ 34 h 146"/>
                <a:gd name="T4" fmla="*/ 60 w 60"/>
                <a:gd name="T5" fmla="*/ 50 h 146"/>
                <a:gd name="T6" fmla="*/ 38 w 60"/>
                <a:gd name="T7" fmla="*/ 50 h 146"/>
                <a:gd name="T8" fmla="*/ 38 w 60"/>
                <a:gd name="T9" fmla="*/ 120 h 146"/>
                <a:gd name="T10" fmla="*/ 38 w 60"/>
                <a:gd name="T11" fmla="*/ 120 h 146"/>
                <a:gd name="T12" fmla="*/ 38 w 60"/>
                <a:gd name="T13" fmla="*/ 126 h 146"/>
                <a:gd name="T14" fmla="*/ 40 w 60"/>
                <a:gd name="T15" fmla="*/ 128 h 146"/>
                <a:gd name="T16" fmla="*/ 44 w 60"/>
                <a:gd name="T17" fmla="*/ 130 h 146"/>
                <a:gd name="T18" fmla="*/ 52 w 60"/>
                <a:gd name="T19" fmla="*/ 130 h 146"/>
                <a:gd name="T20" fmla="*/ 60 w 60"/>
                <a:gd name="T21" fmla="*/ 130 h 146"/>
                <a:gd name="T22" fmla="*/ 60 w 60"/>
                <a:gd name="T23" fmla="*/ 146 h 146"/>
                <a:gd name="T24" fmla="*/ 46 w 60"/>
                <a:gd name="T25" fmla="*/ 146 h 146"/>
                <a:gd name="T26" fmla="*/ 46 w 60"/>
                <a:gd name="T27" fmla="*/ 146 h 146"/>
                <a:gd name="T28" fmla="*/ 34 w 60"/>
                <a:gd name="T29" fmla="*/ 146 h 146"/>
                <a:gd name="T30" fmla="*/ 26 w 60"/>
                <a:gd name="T31" fmla="*/ 142 h 146"/>
                <a:gd name="T32" fmla="*/ 22 w 60"/>
                <a:gd name="T33" fmla="*/ 138 h 146"/>
                <a:gd name="T34" fmla="*/ 20 w 60"/>
                <a:gd name="T35" fmla="*/ 134 h 146"/>
                <a:gd name="T36" fmla="*/ 20 w 60"/>
                <a:gd name="T37" fmla="*/ 122 h 146"/>
                <a:gd name="T38" fmla="*/ 20 w 60"/>
                <a:gd name="T39" fmla="*/ 50 h 146"/>
                <a:gd name="T40" fmla="*/ 0 w 60"/>
                <a:gd name="T41" fmla="*/ 50 h 146"/>
                <a:gd name="T42" fmla="*/ 0 w 60"/>
                <a:gd name="T43" fmla="*/ 34 h 146"/>
                <a:gd name="T44" fmla="*/ 20 w 60"/>
                <a:gd name="T45" fmla="*/ 34 h 146"/>
                <a:gd name="T46" fmla="*/ 20 w 60"/>
                <a:gd name="T47" fmla="*/ 0 h 146"/>
                <a:gd name="T48" fmla="*/ 38 w 60"/>
                <a:gd name="T49" fmla="*/ 0 h 146"/>
                <a:gd name="T50" fmla="*/ 38 w 60"/>
                <a:gd name="T51" fmla="*/ 3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146">
                  <a:moveTo>
                    <a:pt x="38" y="34"/>
                  </a:moveTo>
                  <a:lnTo>
                    <a:pt x="60" y="34"/>
                  </a:lnTo>
                  <a:lnTo>
                    <a:pt x="60" y="50"/>
                  </a:lnTo>
                  <a:lnTo>
                    <a:pt x="38" y="50"/>
                  </a:lnTo>
                  <a:lnTo>
                    <a:pt x="38" y="120"/>
                  </a:lnTo>
                  <a:lnTo>
                    <a:pt x="38" y="120"/>
                  </a:lnTo>
                  <a:lnTo>
                    <a:pt x="38" y="126"/>
                  </a:lnTo>
                  <a:lnTo>
                    <a:pt x="40" y="128"/>
                  </a:lnTo>
                  <a:lnTo>
                    <a:pt x="44" y="130"/>
                  </a:lnTo>
                  <a:lnTo>
                    <a:pt x="52" y="130"/>
                  </a:lnTo>
                  <a:lnTo>
                    <a:pt x="60" y="130"/>
                  </a:lnTo>
                  <a:lnTo>
                    <a:pt x="60" y="146"/>
                  </a:lnTo>
                  <a:lnTo>
                    <a:pt x="46" y="146"/>
                  </a:lnTo>
                  <a:lnTo>
                    <a:pt x="46" y="146"/>
                  </a:lnTo>
                  <a:lnTo>
                    <a:pt x="34" y="146"/>
                  </a:lnTo>
                  <a:lnTo>
                    <a:pt x="26" y="142"/>
                  </a:lnTo>
                  <a:lnTo>
                    <a:pt x="22" y="138"/>
                  </a:lnTo>
                  <a:lnTo>
                    <a:pt x="20" y="134"/>
                  </a:lnTo>
                  <a:lnTo>
                    <a:pt x="20" y="122"/>
                  </a:lnTo>
                  <a:lnTo>
                    <a:pt x="20" y="50"/>
                  </a:lnTo>
                  <a:lnTo>
                    <a:pt x="0" y="50"/>
                  </a:lnTo>
                  <a:lnTo>
                    <a:pt x="0" y="34"/>
                  </a:lnTo>
                  <a:lnTo>
                    <a:pt x="20" y="34"/>
                  </a:lnTo>
                  <a:lnTo>
                    <a:pt x="20" y="0"/>
                  </a:lnTo>
                  <a:lnTo>
                    <a:pt x="38" y="0"/>
                  </a:lnTo>
                  <a:lnTo>
                    <a:pt x="38" y="34"/>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44" name="Freeform 114"/>
            <p:cNvSpPr>
              <a:spLocks noEditPoints="1"/>
            </p:cNvSpPr>
            <p:nvPr/>
          </p:nvSpPr>
          <p:spPr bwMode="auto">
            <a:xfrm>
              <a:off x="5895975" y="5308600"/>
              <a:ext cx="28575" cy="244475"/>
            </a:xfrm>
            <a:custGeom>
              <a:avLst/>
              <a:gdLst>
                <a:gd name="T0" fmla="*/ 18 w 18"/>
                <a:gd name="T1" fmla="*/ 22 h 154"/>
                <a:gd name="T2" fmla="*/ 0 w 18"/>
                <a:gd name="T3" fmla="*/ 22 h 154"/>
                <a:gd name="T4" fmla="*/ 0 w 18"/>
                <a:gd name="T5" fmla="*/ 0 h 154"/>
                <a:gd name="T6" fmla="*/ 18 w 18"/>
                <a:gd name="T7" fmla="*/ 0 h 154"/>
                <a:gd name="T8" fmla="*/ 18 w 18"/>
                <a:gd name="T9" fmla="*/ 22 h 154"/>
                <a:gd name="T10" fmla="*/ 0 w 18"/>
                <a:gd name="T11" fmla="*/ 42 h 154"/>
                <a:gd name="T12" fmla="*/ 18 w 18"/>
                <a:gd name="T13" fmla="*/ 42 h 154"/>
                <a:gd name="T14" fmla="*/ 18 w 18"/>
                <a:gd name="T15" fmla="*/ 154 h 154"/>
                <a:gd name="T16" fmla="*/ 0 w 18"/>
                <a:gd name="T17" fmla="*/ 154 h 154"/>
                <a:gd name="T18" fmla="*/ 0 w 18"/>
                <a:gd name="T19" fmla="*/ 4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54">
                  <a:moveTo>
                    <a:pt x="18" y="22"/>
                  </a:moveTo>
                  <a:lnTo>
                    <a:pt x="0" y="22"/>
                  </a:lnTo>
                  <a:lnTo>
                    <a:pt x="0" y="0"/>
                  </a:lnTo>
                  <a:lnTo>
                    <a:pt x="18" y="0"/>
                  </a:lnTo>
                  <a:lnTo>
                    <a:pt x="18" y="22"/>
                  </a:lnTo>
                  <a:close/>
                  <a:moveTo>
                    <a:pt x="0" y="42"/>
                  </a:moveTo>
                  <a:lnTo>
                    <a:pt x="18" y="42"/>
                  </a:lnTo>
                  <a:lnTo>
                    <a:pt x="18" y="154"/>
                  </a:lnTo>
                  <a:lnTo>
                    <a:pt x="0" y="154"/>
                  </a:lnTo>
                  <a:lnTo>
                    <a:pt x="0"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45" name="Freeform 115"/>
            <p:cNvSpPr>
              <a:spLocks/>
            </p:cNvSpPr>
            <p:nvPr/>
          </p:nvSpPr>
          <p:spPr bwMode="auto">
            <a:xfrm>
              <a:off x="5949950" y="5321300"/>
              <a:ext cx="95250" cy="231775"/>
            </a:xfrm>
            <a:custGeom>
              <a:avLst/>
              <a:gdLst>
                <a:gd name="T0" fmla="*/ 38 w 60"/>
                <a:gd name="T1" fmla="*/ 34 h 146"/>
                <a:gd name="T2" fmla="*/ 60 w 60"/>
                <a:gd name="T3" fmla="*/ 34 h 146"/>
                <a:gd name="T4" fmla="*/ 60 w 60"/>
                <a:gd name="T5" fmla="*/ 50 h 146"/>
                <a:gd name="T6" fmla="*/ 38 w 60"/>
                <a:gd name="T7" fmla="*/ 50 h 146"/>
                <a:gd name="T8" fmla="*/ 38 w 60"/>
                <a:gd name="T9" fmla="*/ 120 h 146"/>
                <a:gd name="T10" fmla="*/ 38 w 60"/>
                <a:gd name="T11" fmla="*/ 120 h 146"/>
                <a:gd name="T12" fmla="*/ 40 w 60"/>
                <a:gd name="T13" fmla="*/ 126 h 146"/>
                <a:gd name="T14" fmla="*/ 42 w 60"/>
                <a:gd name="T15" fmla="*/ 128 h 146"/>
                <a:gd name="T16" fmla="*/ 46 w 60"/>
                <a:gd name="T17" fmla="*/ 130 h 146"/>
                <a:gd name="T18" fmla="*/ 52 w 60"/>
                <a:gd name="T19" fmla="*/ 130 h 146"/>
                <a:gd name="T20" fmla="*/ 60 w 60"/>
                <a:gd name="T21" fmla="*/ 130 h 146"/>
                <a:gd name="T22" fmla="*/ 60 w 60"/>
                <a:gd name="T23" fmla="*/ 146 h 146"/>
                <a:gd name="T24" fmla="*/ 46 w 60"/>
                <a:gd name="T25" fmla="*/ 146 h 146"/>
                <a:gd name="T26" fmla="*/ 46 w 60"/>
                <a:gd name="T27" fmla="*/ 146 h 146"/>
                <a:gd name="T28" fmla="*/ 34 w 60"/>
                <a:gd name="T29" fmla="*/ 146 h 146"/>
                <a:gd name="T30" fmla="*/ 26 w 60"/>
                <a:gd name="T31" fmla="*/ 142 h 146"/>
                <a:gd name="T32" fmla="*/ 24 w 60"/>
                <a:gd name="T33" fmla="*/ 138 h 146"/>
                <a:gd name="T34" fmla="*/ 22 w 60"/>
                <a:gd name="T35" fmla="*/ 134 h 146"/>
                <a:gd name="T36" fmla="*/ 20 w 60"/>
                <a:gd name="T37" fmla="*/ 122 h 146"/>
                <a:gd name="T38" fmla="*/ 20 w 60"/>
                <a:gd name="T39" fmla="*/ 50 h 146"/>
                <a:gd name="T40" fmla="*/ 0 w 60"/>
                <a:gd name="T41" fmla="*/ 50 h 146"/>
                <a:gd name="T42" fmla="*/ 0 w 60"/>
                <a:gd name="T43" fmla="*/ 34 h 146"/>
                <a:gd name="T44" fmla="*/ 20 w 60"/>
                <a:gd name="T45" fmla="*/ 34 h 146"/>
                <a:gd name="T46" fmla="*/ 20 w 60"/>
                <a:gd name="T47" fmla="*/ 0 h 146"/>
                <a:gd name="T48" fmla="*/ 38 w 60"/>
                <a:gd name="T49" fmla="*/ 0 h 146"/>
                <a:gd name="T50" fmla="*/ 38 w 60"/>
                <a:gd name="T51" fmla="*/ 3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146">
                  <a:moveTo>
                    <a:pt x="38" y="34"/>
                  </a:moveTo>
                  <a:lnTo>
                    <a:pt x="60" y="34"/>
                  </a:lnTo>
                  <a:lnTo>
                    <a:pt x="60" y="50"/>
                  </a:lnTo>
                  <a:lnTo>
                    <a:pt x="38" y="50"/>
                  </a:lnTo>
                  <a:lnTo>
                    <a:pt x="38" y="120"/>
                  </a:lnTo>
                  <a:lnTo>
                    <a:pt x="38" y="120"/>
                  </a:lnTo>
                  <a:lnTo>
                    <a:pt x="40" y="126"/>
                  </a:lnTo>
                  <a:lnTo>
                    <a:pt x="42" y="128"/>
                  </a:lnTo>
                  <a:lnTo>
                    <a:pt x="46" y="130"/>
                  </a:lnTo>
                  <a:lnTo>
                    <a:pt x="52" y="130"/>
                  </a:lnTo>
                  <a:lnTo>
                    <a:pt x="60" y="130"/>
                  </a:lnTo>
                  <a:lnTo>
                    <a:pt x="60" y="146"/>
                  </a:lnTo>
                  <a:lnTo>
                    <a:pt x="46" y="146"/>
                  </a:lnTo>
                  <a:lnTo>
                    <a:pt x="46" y="146"/>
                  </a:lnTo>
                  <a:lnTo>
                    <a:pt x="34" y="146"/>
                  </a:lnTo>
                  <a:lnTo>
                    <a:pt x="26" y="142"/>
                  </a:lnTo>
                  <a:lnTo>
                    <a:pt x="24" y="138"/>
                  </a:lnTo>
                  <a:lnTo>
                    <a:pt x="22" y="134"/>
                  </a:lnTo>
                  <a:lnTo>
                    <a:pt x="20" y="122"/>
                  </a:lnTo>
                  <a:lnTo>
                    <a:pt x="20" y="50"/>
                  </a:lnTo>
                  <a:lnTo>
                    <a:pt x="0" y="50"/>
                  </a:lnTo>
                  <a:lnTo>
                    <a:pt x="0" y="34"/>
                  </a:lnTo>
                  <a:lnTo>
                    <a:pt x="20" y="34"/>
                  </a:lnTo>
                  <a:lnTo>
                    <a:pt x="20" y="0"/>
                  </a:lnTo>
                  <a:lnTo>
                    <a:pt x="38" y="0"/>
                  </a:lnTo>
                  <a:lnTo>
                    <a:pt x="38" y="34"/>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46" name="Freeform 116"/>
            <p:cNvSpPr>
              <a:spLocks noEditPoints="1"/>
            </p:cNvSpPr>
            <p:nvPr/>
          </p:nvSpPr>
          <p:spPr bwMode="auto">
            <a:xfrm>
              <a:off x="6080125" y="5308600"/>
              <a:ext cx="28575" cy="244475"/>
            </a:xfrm>
            <a:custGeom>
              <a:avLst/>
              <a:gdLst>
                <a:gd name="T0" fmla="*/ 18 w 18"/>
                <a:gd name="T1" fmla="*/ 22 h 154"/>
                <a:gd name="T2" fmla="*/ 0 w 18"/>
                <a:gd name="T3" fmla="*/ 22 h 154"/>
                <a:gd name="T4" fmla="*/ 0 w 18"/>
                <a:gd name="T5" fmla="*/ 0 h 154"/>
                <a:gd name="T6" fmla="*/ 18 w 18"/>
                <a:gd name="T7" fmla="*/ 0 h 154"/>
                <a:gd name="T8" fmla="*/ 18 w 18"/>
                <a:gd name="T9" fmla="*/ 22 h 154"/>
                <a:gd name="T10" fmla="*/ 0 w 18"/>
                <a:gd name="T11" fmla="*/ 42 h 154"/>
                <a:gd name="T12" fmla="*/ 18 w 18"/>
                <a:gd name="T13" fmla="*/ 42 h 154"/>
                <a:gd name="T14" fmla="*/ 18 w 18"/>
                <a:gd name="T15" fmla="*/ 154 h 154"/>
                <a:gd name="T16" fmla="*/ 0 w 18"/>
                <a:gd name="T17" fmla="*/ 154 h 154"/>
                <a:gd name="T18" fmla="*/ 0 w 18"/>
                <a:gd name="T19" fmla="*/ 4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54">
                  <a:moveTo>
                    <a:pt x="18" y="22"/>
                  </a:moveTo>
                  <a:lnTo>
                    <a:pt x="0" y="22"/>
                  </a:lnTo>
                  <a:lnTo>
                    <a:pt x="0" y="0"/>
                  </a:lnTo>
                  <a:lnTo>
                    <a:pt x="18" y="0"/>
                  </a:lnTo>
                  <a:lnTo>
                    <a:pt x="18" y="22"/>
                  </a:lnTo>
                  <a:close/>
                  <a:moveTo>
                    <a:pt x="0" y="42"/>
                  </a:moveTo>
                  <a:lnTo>
                    <a:pt x="18" y="42"/>
                  </a:lnTo>
                  <a:lnTo>
                    <a:pt x="18" y="154"/>
                  </a:lnTo>
                  <a:lnTo>
                    <a:pt x="0" y="154"/>
                  </a:lnTo>
                  <a:lnTo>
                    <a:pt x="0"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47" name="Freeform 117"/>
            <p:cNvSpPr>
              <a:spLocks/>
            </p:cNvSpPr>
            <p:nvPr/>
          </p:nvSpPr>
          <p:spPr bwMode="auto">
            <a:xfrm>
              <a:off x="6137275" y="5375275"/>
              <a:ext cx="165100" cy="177800"/>
            </a:xfrm>
            <a:custGeom>
              <a:avLst/>
              <a:gdLst>
                <a:gd name="T0" fmla="*/ 62 w 104"/>
                <a:gd name="T1" fmla="*/ 112 h 112"/>
                <a:gd name="T2" fmla="*/ 42 w 104"/>
                <a:gd name="T3" fmla="*/ 112 h 112"/>
                <a:gd name="T4" fmla="*/ 0 w 104"/>
                <a:gd name="T5" fmla="*/ 0 h 112"/>
                <a:gd name="T6" fmla="*/ 22 w 104"/>
                <a:gd name="T7" fmla="*/ 0 h 112"/>
                <a:gd name="T8" fmla="*/ 52 w 104"/>
                <a:gd name="T9" fmla="*/ 94 h 112"/>
                <a:gd name="T10" fmla="*/ 54 w 104"/>
                <a:gd name="T11" fmla="*/ 94 h 112"/>
                <a:gd name="T12" fmla="*/ 84 w 104"/>
                <a:gd name="T13" fmla="*/ 0 h 112"/>
                <a:gd name="T14" fmla="*/ 104 w 104"/>
                <a:gd name="T15" fmla="*/ 0 h 112"/>
                <a:gd name="T16" fmla="*/ 62 w 104"/>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12">
                  <a:moveTo>
                    <a:pt x="62" y="112"/>
                  </a:moveTo>
                  <a:lnTo>
                    <a:pt x="42" y="112"/>
                  </a:lnTo>
                  <a:lnTo>
                    <a:pt x="0" y="0"/>
                  </a:lnTo>
                  <a:lnTo>
                    <a:pt x="22" y="0"/>
                  </a:lnTo>
                  <a:lnTo>
                    <a:pt x="52" y="94"/>
                  </a:lnTo>
                  <a:lnTo>
                    <a:pt x="54" y="94"/>
                  </a:lnTo>
                  <a:lnTo>
                    <a:pt x="84" y="0"/>
                  </a:lnTo>
                  <a:lnTo>
                    <a:pt x="104" y="0"/>
                  </a:lnTo>
                  <a:lnTo>
                    <a:pt x="62" y="11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48" name="Freeform 118"/>
            <p:cNvSpPr>
              <a:spLocks noEditPoints="1"/>
            </p:cNvSpPr>
            <p:nvPr/>
          </p:nvSpPr>
          <p:spPr bwMode="auto">
            <a:xfrm>
              <a:off x="6318250" y="5372100"/>
              <a:ext cx="165100" cy="184150"/>
            </a:xfrm>
            <a:custGeom>
              <a:avLst/>
              <a:gdLst>
                <a:gd name="T0" fmla="*/ 102 w 104"/>
                <a:gd name="T1" fmla="*/ 78 h 116"/>
                <a:gd name="T2" fmla="*/ 96 w 104"/>
                <a:gd name="T3" fmla="*/ 96 h 116"/>
                <a:gd name="T4" fmla="*/ 86 w 104"/>
                <a:gd name="T5" fmla="*/ 108 h 116"/>
                <a:gd name="T6" fmla="*/ 72 w 104"/>
                <a:gd name="T7" fmla="*/ 114 h 116"/>
                <a:gd name="T8" fmla="*/ 54 w 104"/>
                <a:gd name="T9" fmla="*/ 116 h 116"/>
                <a:gd name="T10" fmla="*/ 42 w 104"/>
                <a:gd name="T11" fmla="*/ 116 h 116"/>
                <a:gd name="T12" fmla="*/ 22 w 104"/>
                <a:gd name="T13" fmla="*/ 108 h 116"/>
                <a:gd name="T14" fmla="*/ 8 w 104"/>
                <a:gd name="T15" fmla="*/ 92 h 116"/>
                <a:gd name="T16" fmla="*/ 2 w 104"/>
                <a:gd name="T17" fmla="*/ 70 h 116"/>
                <a:gd name="T18" fmla="*/ 0 w 104"/>
                <a:gd name="T19" fmla="*/ 58 h 116"/>
                <a:gd name="T20" fmla="*/ 4 w 104"/>
                <a:gd name="T21" fmla="*/ 34 h 116"/>
                <a:gd name="T22" fmla="*/ 14 w 104"/>
                <a:gd name="T23" fmla="*/ 16 h 116"/>
                <a:gd name="T24" fmla="*/ 32 w 104"/>
                <a:gd name="T25" fmla="*/ 4 h 116"/>
                <a:gd name="T26" fmla="*/ 52 w 104"/>
                <a:gd name="T27" fmla="*/ 0 h 116"/>
                <a:gd name="T28" fmla="*/ 66 w 104"/>
                <a:gd name="T29" fmla="*/ 2 h 116"/>
                <a:gd name="T30" fmla="*/ 86 w 104"/>
                <a:gd name="T31" fmla="*/ 12 h 116"/>
                <a:gd name="T32" fmla="*/ 98 w 104"/>
                <a:gd name="T33" fmla="*/ 32 h 116"/>
                <a:gd name="T34" fmla="*/ 104 w 104"/>
                <a:gd name="T35" fmla="*/ 54 h 116"/>
                <a:gd name="T36" fmla="*/ 20 w 104"/>
                <a:gd name="T37" fmla="*/ 64 h 116"/>
                <a:gd name="T38" fmla="*/ 22 w 104"/>
                <a:gd name="T39" fmla="*/ 78 h 116"/>
                <a:gd name="T40" fmla="*/ 28 w 104"/>
                <a:gd name="T41" fmla="*/ 90 h 116"/>
                <a:gd name="T42" fmla="*/ 38 w 104"/>
                <a:gd name="T43" fmla="*/ 98 h 116"/>
                <a:gd name="T44" fmla="*/ 54 w 104"/>
                <a:gd name="T45" fmla="*/ 100 h 116"/>
                <a:gd name="T46" fmla="*/ 64 w 104"/>
                <a:gd name="T47" fmla="*/ 100 h 116"/>
                <a:gd name="T48" fmla="*/ 80 w 104"/>
                <a:gd name="T49" fmla="*/ 88 h 116"/>
                <a:gd name="T50" fmla="*/ 102 w 104"/>
                <a:gd name="T51" fmla="*/ 78 h 116"/>
                <a:gd name="T52" fmla="*/ 84 w 104"/>
                <a:gd name="T53" fmla="*/ 48 h 116"/>
                <a:gd name="T54" fmla="*/ 74 w 104"/>
                <a:gd name="T55" fmla="*/ 26 h 116"/>
                <a:gd name="T56" fmla="*/ 64 w 104"/>
                <a:gd name="T57" fmla="*/ 18 h 116"/>
                <a:gd name="T58" fmla="*/ 52 w 104"/>
                <a:gd name="T59" fmla="*/ 16 h 116"/>
                <a:gd name="T60" fmla="*/ 44 w 104"/>
                <a:gd name="T61" fmla="*/ 16 h 116"/>
                <a:gd name="T62" fmla="*/ 34 w 104"/>
                <a:gd name="T63" fmla="*/ 22 h 116"/>
                <a:gd name="T64" fmla="*/ 22 w 104"/>
                <a:gd name="T65" fmla="*/ 36 h 116"/>
                <a:gd name="T66" fmla="*/ 84 w 104"/>
                <a:gd name="T67" fmla="*/ 4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4" h="116">
                  <a:moveTo>
                    <a:pt x="102" y="78"/>
                  </a:moveTo>
                  <a:lnTo>
                    <a:pt x="102" y="78"/>
                  </a:lnTo>
                  <a:lnTo>
                    <a:pt x="100" y="88"/>
                  </a:lnTo>
                  <a:lnTo>
                    <a:pt x="96" y="96"/>
                  </a:lnTo>
                  <a:lnTo>
                    <a:pt x="90" y="102"/>
                  </a:lnTo>
                  <a:lnTo>
                    <a:pt x="86" y="108"/>
                  </a:lnTo>
                  <a:lnTo>
                    <a:pt x="78" y="112"/>
                  </a:lnTo>
                  <a:lnTo>
                    <a:pt x="72" y="114"/>
                  </a:lnTo>
                  <a:lnTo>
                    <a:pt x="62" y="116"/>
                  </a:lnTo>
                  <a:lnTo>
                    <a:pt x="54" y="116"/>
                  </a:lnTo>
                  <a:lnTo>
                    <a:pt x="54" y="116"/>
                  </a:lnTo>
                  <a:lnTo>
                    <a:pt x="42" y="116"/>
                  </a:lnTo>
                  <a:lnTo>
                    <a:pt x="30" y="112"/>
                  </a:lnTo>
                  <a:lnTo>
                    <a:pt x="22" y="108"/>
                  </a:lnTo>
                  <a:lnTo>
                    <a:pt x="14" y="100"/>
                  </a:lnTo>
                  <a:lnTo>
                    <a:pt x="8" y="92"/>
                  </a:lnTo>
                  <a:lnTo>
                    <a:pt x="4" y="82"/>
                  </a:lnTo>
                  <a:lnTo>
                    <a:pt x="2" y="70"/>
                  </a:lnTo>
                  <a:lnTo>
                    <a:pt x="0" y="58"/>
                  </a:lnTo>
                  <a:lnTo>
                    <a:pt x="0" y="58"/>
                  </a:lnTo>
                  <a:lnTo>
                    <a:pt x="0" y="46"/>
                  </a:lnTo>
                  <a:lnTo>
                    <a:pt x="4" y="34"/>
                  </a:lnTo>
                  <a:lnTo>
                    <a:pt x="8" y="24"/>
                  </a:lnTo>
                  <a:lnTo>
                    <a:pt x="14" y="16"/>
                  </a:lnTo>
                  <a:lnTo>
                    <a:pt x="22" y="10"/>
                  </a:lnTo>
                  <a:lnTo>
                    <a:pt x="32" y="4"/>
                  </a:lnTo>
                  <a:lnTo>
                    <a:pt x="42" y="0"/>
                  </a:lnTo>
                  <a:lnTo>
                    <a:pt x="52" y="0"/>
                  </a:lnTo>
                  <a:lnTo>
                    <a:pt x="52" y="0"/>
                  </a:lnTo>
                  <a:lnTo>
                    <a:pt x="66" y="2"/>
                  </a:lnTo>
                  <a:lnTo>
                    <a:pt x="78" y="6"/>
                  </a:lnTo>
                  <a:lnTo>
                    <a:pt x="86" y="12"/>
                  </a:lnTo>
                  <a:lnTo>
                    <a:pt x="94" y="22"/>
                  </a:lnTo>
                  <a:lnTo>
                    <a:pt x="98" y="32"/>
                  </a:lnTo>
                  <a:lnTo>
                    <a:pt x="102" y="42"/>
                  </a:lnTo>
                  <a:lnTo>
                    <a:pt x="104" y="54"/>
                  </a:lnTo>
                  <a:lnTo>
                    <a:pt x="104" y="64"/>
                  </a:lnTo>
                  <a:lnTo>
                    <a:pt x="20" y="64"/>
                  </a:lnTo>
                  <a:lnTo>
                    <a:pt x="20" y="64"/>
                  </a:lnTo>
                  <a:lnTo>
                    <a:pt x="22" y="78"/>
                  </a:lnTo>
                  <a:lnTo>
                    <a:pt x="24" y="84"/>
                  </a:lnTo>
                  <a:lnTo>
                    <a:pt x="28" y="90"/>
                  </a:lnTo>
                  <a:lnTo>
                    <a:pt x="32" y="94"/>
                  </a:lnTo>
                  <a:lnTo>
                    <a:pt x="38" y="98"/>
                  </a:lnTo>
                  <a:lnTo>
                    <a:pt x="46" y="100"/>
                  </a:lnTo>
                  <a:lnTo>
                    <a:pt x="54" y="100"/>
                  </a:lnTo>
                  <a:lnTo>
                    <a:pt x="54" y="100"/>
                  </a:lnTo>
                  <a:lnTo>
                    <a:pt x="64" y="100"/>
                  </a:lnTo>
                  <a:lnTo>
                    <a:pt x="74" y="96"/>
                  </a:lnTo>
                  <a:lnTo>
                    <a:pt x="80" y="88"/>
                  </a:lnTo>
                  <a:lnTo>
                    <a:pt x="84" y="78"/>
                  </a:lnTo>
                  <a:lnTo>
                    <a:pt x="102" y="78"/>
                  </a:lnTo>
                  <a:close/>
                  <a:moveTo>
                    <a:pt x="84" y="48"/>
                  </a:moveTo>
                  <a:lnTo>
                    <a:pt x="84" y="48"/>
                  </a:lnTo>
                  <a:lnTo>
                    <a:pt x="82" y="36"/>
                  </a:lnTo>
                  <a:lnTo>
                    <a:pt x="74" y="26"/>
                  </a:lnTo>
                  <a:lnTo>
                    <a:pt x="70" y="22"/>
                  </a:lnTo>
                  <a:lnTo>
                    <a:pt x="64" y="18"/>
                  </a:lnTo>
                  <a:lnTo>
                    <a:pt x="58" y="16"/>
                  </a:lnTo>
                  <a:lnTo>
                    <a:pt x="52" y="16"/>
                  </a:lnTo>
                  <a:lnTo>
                    <a:pt x="52" y="16"/>
                  </a:lnTo>
                  <a:lnTo>
                    <a:pt x="44" y="16"/>
                  </a:lnTo>
                  <a:lnTo>
                    <a:pt x="38" y="18"/>
                  </a:lnTo>
                  <a:lnTo>
                    <a:pt x="34" y="22"/>
                  </a:lnTo>
                  <a:lnTo>
                    <a:pt x="28" y="26"/>
                  </a:lnTo>
                  <a:lnTo>
                    <a:pt x="22" y="36"/>
                  </a:lnTo>
                  <a:lnTo>
                    <a:pt x="20" y="48"/>
                  </a:lnTo>
                  <a:lnTo>
                    <a:pt x="84" y="4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49" name="Freeform 119"/>
            <p:cNvSpPr>
              <a:spLocks/>
            </p:cNvSpPr>
            <p:nvPr/>
          </p:nvSpPr>
          <p:spPr bwMode="auto">
            <a:xfrm>
              <a:off x="6511925" y="5372100"/>
              <a:ext cx="149225" cy="180975"/>
            </a:xfrm>
            <a:custGeom>
              <a:avLst/>
              <a:gdLst>
                <a:gd name="T0" fmla="*/ 0 w 94"/>
                <a:gd name="T1" fmla="*/ 2 h 114"/>
                <a:gd name="T2" fmla="*/ 18 w 94"/>
                <a:gd name="T3" fmla="*/ 2 h 114"/>
                <a:gd name="T4" fmla="*/ 18 w 94"/>
                <a:gd name="T5" fmla="*/ 20 h 114"/>
                <a:gd name="T6" fmla="*/ 18 w 94"/>
                <a:gd name="T7" fmla="*/ 20 h 114"/>
                <a:gd name="T8" fmla="*/ 18 w 94"/>
                <a:gd name="T9" fmla="*/ 20 h 114"/>
                <a:gd name="T10" fmla="*/ 26 w 94"/>
                <a:gd name="T11" fmla="*/ 10 h 114"/>
                <a:gd name="T12" fmla="*/ 34 w 94"/>
                <a:gd name="T13" fmla="*/ 4 h 114"/>
                <a:gd name="T14" fmla="*/ 44 w 94"/>
                <a:gd name="T15" fmla="*/ 0 h 114"/>
                <a:gd name="T16" fmla="*/ 54 w 94"/>
                <a:gd name="T17" fmla="*/ 0 h 114"/>
                <a:gd name="T18" fmla="*/ 54 w 94"/>
                <a:gd name="T19" fmla="*/ 0 h 114"/>
                <a:gd name="T20" fmla="*/ 64 w 94"/>
                <a:gd name="T21" fmla="*/ 0 h 114"/>
                <a:gd name="T22" fmla="*/ 74 w 94"/>
                <a:gd name="T23" fmla="*/ 2 h 114"/>
                <a:gd name="T24" fmla="*/ 80 w 94"/>
                <a:gd name="T25" fmla="*/ 6 h 114"/>
                <a:gd name="T26" fmla="*/ 86 w 94"/>
                <a:gd name="T27" fmla="*/ 12 h 114"/>
                <a:gd name="T28" fmla="*/ 88 w 94"/>
                <a:gd name="T29" fmla="*/ 18 h 114"/>
                <a:gd name="T30" fmla="*/ 92 w 94"/>
                <a:gd name="T31" fmla="*/ 24 h 114"/>
                <a:gd name="T32" fmla="*/ 94 w 94"/>
                <a:gd name="T33" fmla="*/ 40 h 114"/>
                <a:gd name="T34" fmla="*/ 94 w 94"/>
                <a:gd name="T35" fmla="*/ 114 h 114"/>
                <a:gd name="T36" fmla="*/ 74 w 94"/>
                <a:gd name="T37" fmla="*/ 114 h 114"/>
                <a:gd name="T38" fmla="*/ 74 w 94"/>
                <a:gd name="T39" fmla="*/ 38 h 114"/>
                <a:gd name="T40" fmla="*/ 74 w 94"/>
                <a:gd name="T41" fmla="*/ 38 h 114"/>
                <a:gd name="T42" fmla="*/ 74 w 94"/>
                <a:gd name="T43" fmla="*/ 30 h 114"/>
                <a:gd name="T44" fmla="*/ 68 w 94"/>
                <a:gd name="T45" fmla="*/ 22 h 114"/>
                <a:gd name="T46" fmla="*/ 62 w 94"/>
                <a:gd name="T47" fmla="*/ 18 h 114"/>
                <a:gd name="T48" fmla="*/ 52 w 94"/>
                <a:gd name="T49" fmla="*/ 16 h 114"/>
                <a:gd name="T50" fmla="*/ 52 w 94"/>
                <a:gd name="T51" fmla="*/ 16 h 114"/>
                <a:gd name="T52" fmla="*/ 44 w 94"/>
                <a:gd name="T53" fmla="*/ 16 h 114"/>
                <a:gd name="T54" fmla="*/ 38 w 94"/>
                <a:gd name="T55" fmla="*/ 18 h 114"/>
                <a:gd name="T56" fmla="*/ 32 w 94"/>
                <a:gd name="T57" fmla="*/ 22 h 114"/>
                <a:gd name="T58" fmla="*/ 28 w 94"/>
                <a:gd name="T59" fmla="*/ 26 h 114"/>
                <a:gd name="T60" fmla="*/ 24 w 94"/>
                <a:gd name="T61" fmla="*/ 32 h 114"/>
                <a:gd name="T62" fmla="*/ 20 w 94"/>
                <a:gd name="T63" fmla="*/ 38 h 114"/>
                <a:gd name="T64" fmla="*/ 18 w 94"/>
                <a:gd name="T65" fmla="*/ 52 h 114"/>
                <a:gd name="T66" fmla="*/ 18 w 94"/>
                <a:gd name="T67" fmla="*/ 114 h 114"/>
                <a:gd name="T68" fmla="*/ 0 w 94"/>
                <a:gd name="T69" fmla="*/ 114 h 114"/>
                <a:gd name="T70" fmla="*/ 0 w 94"/>
                <a:gd name="T71" fmla="*/ 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14">
                  <a:moveTo>
                    <a:pt x="0" y="2"/>
                  </a:moveTo>
                  <a:lnTo>
                    <a:pt x="18" y="2"/>
                  </a:lnTo>
                  <a:lnTo>
                    <a:pt x="18" y="20"/>
                  </a:lnTo>
                  <a:lnTo>
                    <a:pt x="18" y="20"/>
                  </a:lnTo>
                  <a:lnTo>
                    <a:pt x="18" y="20"/>
                  </a:lnTo>
                  <a:lnTo>
                    <a:pt x="26" y="10"/>
                  </a:lnTo>
                  <a:lnTo>
                    <a:pt x="34" y="4"/>
                  </a:lnTo>
                  <a:lnTo>
                    <a:pt x="44" y="0"/>
                  </a:lnTo>
                  <a:lnTo>
                    <a:pt x="54" y="0"/>
                  </a:lnTo>
                  <a:lnTo>
                    <a:pt x="54" y="0"/>
                  </a:lnTo>
                  <a:lnTo>
                    <a:pt x="64" y="0"/>
                  </a:lnTo>
                  <a:lnTo>
                    <a:pt x="74" y="2"/>
                  </a:lnTo>
                  <a:lnTo>
                    <a:pt x="80" y="6"/>
                  </a:lnTo>
                  <a:lnTo>
                    <a:pt x="86" y="12"/>
                  </a:lnTo>
                  <a:lnTo>
                    <a:pt x="88" y="18"/>
                  </a:lnTo>
                  <a:lnTo>
                    <a:pt x="92" y="24"/>
                  </a:lnTo>
                  <a:lnTo>
                    <a:pt x="94" y="40"/>
                  </a:lnTo>
                  <a:lnTo>
                    <a:pt x="94" y="114"/>
                  </a:lnTo>
                  <a:lnTo>
                    <a:pt x="74" y="114"/>
                  </a:lnTo>
                  <a:lnTo>
                    <a:pt x="74" y="38"/>
                  </a:lnTo>
                  <a:lnTo>
                    <a:pt x="74" y="38"/>
                  </a:lnTo>
                  <a:lnTo>
                    <a:pt x="74" y="30"/>
                  </a:lnTo>
                  <a:lnTo>
                    <a:pt x="68" y="22"/>
                  </a:lnTo>
                  <a:lnTo>
                    <a:pt x="62" y="18"/>
                  </a:lnTo>
                  <a:lnTo>
                    <a:pt x="52" y="16"/>
                  </a:lnTo>
                  <a:lnTo>
                    <a:pt x="52" y="16"/>
                  </a:lnTo>
                  <a:lnTo>
                    <a:pt x="44" y="16"/>
                  </a:lnTo>
                  <a:lnTo>
                    <a:pt x="38" y="18"/>
                  </a:lnTo>
                  <a:lnTo>
                    <a:pt x="32" y="22"/>
                  </a:lnTo>
                  <a:lnTo>
                    <a:pt x="28" y="26"/>
                  </a:lnTo>
                  <a:lnTo>
                    <a:pt x="24" y="32"/>
                  </a:lnTo>
                  <a:lnTo>
                    <a:pt x="20" y="38"/>
                  </a:lnTo>
                  <a:lnTo>
                    <a:pt x="18" y="52"/>
                  </a:lnTo>
                  <a:lnTo>
                    <a:pt x="18" y="114"/>
                  </a:lnTo>
                  <a:lnTo>
                    <a:pt x="0" y="114"/>
                  </a:lnTo>
                  <a:lnTo>
                    <a:pt x="0" y="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50" name="Freeform 120"/>
            <p:cNvSpPr>
              <a:spLocks noEditPoints="1"/>
            </p:cNvSpPr>
            <p:nvPr/>
          </p:nvSpPr>
          <p:spPr bwMode="auto">
            <a:xfrm>
              <a:off x="6696075" y="5372100"/>
              <a:ext cx="161925" cy="184150"/>
            </a:xfrm>
            <a:custGeom>
              <a:avLst/>
              <a:gdLst>
                <a:gd name="T0" fmla="*/ 100 w 102"/>
                <a:gd name="T1" fmla="*/ 78 h 116"/>
                <a:gd name="T2" fmla="*/ 94 w 102"/>
                <a:gd name="T3" fmla="*/ 96 h 116"/>
                <a:gd name="T4" fmla="*/ 84 w 102"/>
                <a:gd name="T5" fmla="*/ 108 h 116"/>
                <a:gd name="T6" fmla="*/ 70 w 102"/>
                <a:gd name="T7" fmla="*/ 114 h 116"/>
                <a:gd name="T8" fmla="*/ 52 w 102"/>
                <a:gd name="T9" fmla="*/ 116 h 116"/>
                <a:gd name="T10" fmla="*/ 40 w 102"/>
                <a:gd name="T11" fmla="*/ 116 h 116"/>
                <a:gd name="T12" fmla="*/ 20 w 102"/>
                <a:gd name="T13" fmla="*/ 108 h 116"/>
                <a:gd name="T14" fmla="*/ 8 w 102"/>
                <a:gd name="T15" fmla="*/ 92 h 116"/>
                <a:gd name="T16" fmla="*/ 0 w 102"/>
                <a:gd name="T17" fmla="*/ 70 h 116"/>
                <a:gd name="T18" fmla="*/ 0 w 102"/>
                <a:gd name="T19" fmla="*/ 58 h 116"/>
                <a:gd name="T20" fmla="*/ 4 w 102"/>
                <a:gd name="T21" fmla="*/ 34 h 116"/>
                <a:gd name="T22" fmla="*/ 14 w 102"/>
                <a:gd name="T23" fmla="*/ 16 h 116"/>
                <a:gd name="T24" fmla="*/ 30 w 102"/>
                <a:gd name="T25" fmla="*/ 4 h 116"/>
                <a:gd name="T26" fmla="*/ 52 w 102"/>
                <a:gd name="T27" fmla="*/ 0 h 116"/>
                <a:gd name="T28" fmla="*/ 66 w 102"/>
                <a:gd name="T29" fmla="*/ 2 h 116"/>
                <a:gd name="T30" fmla="*/ 86 w 102"/>
                <a:gd name="T31" fmla="*/ 12 h 116"/>
                <a:gd name="T32" fmla="*/ 98 w 102"/>
                <a:gd name="T33" fmla="*/ 32 h 116"/>
                <a:gd name="T34" fmla="*/ 102 w 102"/>
                <a:gd name="T35" fmla="*/ 54 h 116"/>
                <a:gd name="T36" fmla="*/ 18 w 102"/>
                <a:gd name="T37" fmla="*/ 64 h 116"/>
                <a:gd name="T38" fmla="*/ 20 w 102"/>
                <a:gd name="T39" fmla="*/ 78 h 116"/>
                <a:gd name="T40" fmla="*/ 26 w 102"/>
                <a:gd name="T41" fmla="*/ 90 h 116"/>
                <a:gd name="T42" fmla="*/ 38 w 102"/>
                <a:gd name="T43" fmla="*/ 98 h 116"/>
                <a:gd name="T44" fmla="*/ 54 w 102"/>
                <a:gd name="T45" fmla="*/ 100 h 116"/>
                <a:gd name="T46" fmla="*/ 64 w 102"/>
                <a:gd name="T47" fmla="*/ 100 h 116"/>
                <a:gd name="T48" fmla="*/ 78 w 102"/>
                <a:gd name="T49" fmla="*/ 88 h 116"/>
                <a:gd name="T50" fmla="*/ 100 w 102"/>
                <a:gd name="T51" fmla="*/ 78 h 116"/>
                <a:gd name="T52" fmla="*/ 84 w 102"/>
                <a:gd name="T53" fmla="*/ 48 h 116"/>
                <a:gd name="T54" fmla="*/ 74 w 102"/>
                <a:gd name="T55" fmla="*/ 26 h 116"/>
                <a:gd name="T56" fmla="*/ 64 w 102"/>
                <a:gd name="T57" fmla="*/ 18 h 116"/>
                <a:gd name="T58" fmla="*/ 50 w 102"/>
                <a:gd name="T59" fmla="*/ 16 h 116"/>
                <a:gd name="T60" fmla="*/ 44 w 102"/>
                <a:gd name="T61" fmla="*/ 16 h 116"/>
                <a:gd name="T62" fmla="*/ 32 w 102"/>
                <a:gd name="T63" fmla="*/ 22 h 116"/>
                <a:gd name="T64" fmla="*/ 22 w 102"/>
                <a:gd name="T65" fmla="*/ 36 h 116"/>
                <a:gd name="T66" fmla="*/ 84 w 102"/>
                <a:gd name="T67" fmla="*/ 4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116">
                  <a:moveTo>
                    <a:pt x="100" y="78"/>
                  </a:moveTo>
                  <a:lnTo>
                    <a:pt x="100" y="78"/>
                  </a:lnTo>
                  <a:lnTo>
                    <a:pt x="98" y="88"/>
                  </a:lnTo>
                  <a:lnTo>
                    <a:pt x="94" y="96"/>
                  </a:lnTo>
                  <a:lnTo>
                    <a:pt x="90" y="102"/>
                  </a:lnTo>
                  <a:lnTo>
                    <a:pt x="84" y="108"/>
                  </a:lnTo>
                  <a:lnTo>
                    <a:pt x="78" y="112"/>
                  </a:lnTo>
                  <a:lnTo>
                    <a:pt x="70" y="114"/>
                  </a:lnTo>
                  <a:lnTo>
                    <a:pt x="62" y="116"/>
                  </a:lnTo>
                  <a:lnTo>
                    <a:pt x="52" y="116"/>
                  </a:lnTo>
                  <a:lnTo>
                    <a:pt x="52" y="116"/>
                  </a:lnTo>
                  <a:lnTo>
                    <a:pt x="40" y="116"/>
                  </a:lnTo>
                  <a:lnTo>
                    <a:pt x="30" y="112"/>
                  </a:lnTo>
                  <a:lnTo>
                    <a:pt x="20" y="108"/>
                  </a:lnTo>
                  <a:lnTo>
                    <a:pt x="14" y="100"/>
                  </a:lnTo>
                  <a:lnTo>
                    <a:pt x="8" y="92"/>
                  </a:lnTo>
                  <a:lnTo>
                    <a:pt x="2" y="82"/>
                  </a:lnTo>
                  <a:lnTo>
                    <a:pt x="0" y="70"/>
                  </a:lnTo>
                  <a:lnTo>
                    <a:pt x="0" y="58"/>
                  </a:lnTo>
                  <a:lnTo>
                    <a:pt x="0" y="58"/>
                  </a:lnTo>
                  <a:lnTo>
                    <a:pt x="0" y="46"/>
                  </a:lnTo>
                  <a:lnTo>
                    <a:pt x="4" y="34"/>
                  </a:lnTo>
                  <a:lnTo>
                    <a:pt x="8" y="24"/>
                  </a:lnTo>
                  <a:lnTo>
                    <a:pt x="14" y="16"/>
                  </a:lnTo>
                  <a:lnTo>
                    <a:pt x="22" y="10"/>
                  </a:lnTo>
                  <a:lnTo>
                    <a:pt x="30" y="4"/>
                  </a:lnTo>
                  <a:lnTo>
                    <a:pt x="40" y="0"/>
                  </a:lnTo>
                  <a:lnTo>
                    <a:pt x="52" y="0"/>
                  </a:lnTo>
                  <a:lnTo>
                    <a:pt x="52" y="0"/>
                  </a:lnTo>
                  <a:lnTo>
                    <a:pt x="66" y="2"/>
                  </a:lnTo>
                  <a:lnTo>
                    <a:pt x="76" y="6"/>
                  </a:lnTo>
                  <a:lnTo>
                    <a:pt x="86" y="12"/>
                  </a:lnTo>
                  <a:lnTo>
                    <a:pt x="92" y="22"/>
                  </a:lnTo>
                  <a:lnTo>
                    <a:pt x="98" y="32"/>
                  </a:lnTo>
                  <a:lnTo>
                    <a:pt x="100" y="42"/>
                  </a:lnTo>
                  <a:lnTo>
                    <a:pt x="102" y="54"/>
                  </a:lnTo>
                  <a:lnTo>
                    <a:pt x="102" y="64"/>
                  </a:lnTo>
                  <a:lnTo>
                    <a:pt x="18" y="64"/>
                  </a:lnTo>
                  <a:lnTo>
                    <a:pt x="18" y="64"/>
                  </a:lnTo>
                  <a:lnTo>
                    <a:pt x="20" y="78"/>
                  </a:lnTo>
                  <a:lnTo>
                    <a:pt x="22" y="84"/>
                  </a:lnTo>
                  <a:lnTo>
                    <a:pt x="26" y="90"/>
                  </a:lnTo>
                  <a:lnTo>
                    <a:pt x="32" y="94"/>
                  </a:lnTo>
                  <a:lnTo>
                    <a:pt x="38" y="98"/>
                  </a:lnTo>
                  <a:lnTo>
                    <a:pt x="46" y="100"/>
                  </a:lnTo>
                  <a:lnTo>
                    <a:pt x="54" y="100"/>
                  </a:lnTo>
                  <a:lnTo>
                    <a:pt x="54" y="100"/>
                  </a:lnTo>
                  <a:lnTo>
                    <a:pt x="64" y="100"/>
                  </a:lnTo>
                  <a:lnTo>
                    <a:pt x="72" y="96"/>
                  </a:lnTo>
                  <a:lnTo>
                    <a:pt x="78" y="88"/>
                  </a:lnTo>
                  <a:lnTo>
                    <a:pt x="82" y="78"/>
                  </a:lnTo>
                  <a:lnTo>
                    <a:pt x="100" y="78"/>
                  </a:lnTo>
                  <a:close/>
                  <a:moveTo>
                    <a:pt x="84" y="48"/>
                  </a:moveTo>
                  <a:lnTo>
                    <a:pt x="84" y="48"/>
                  </a:lnTo>
                  <a:lnTo>
                    <a:pt x="80" y="36"/>
                  </a:lnTo>
                  <a:lnTo>
                    <a:pt x="74" y="26"/>
                  </a:lnTo>
                  <a:lnTo>
                    <a:pt x="68" y="22"/>
                  </a:lnTo>
                  <a:lnTo>
                    <a:pt x="64" y="18"/>
                  </a:lnTo>
                  <a:lnTo>
                    <a:pt x="58" y="16"/>
                  </a:lnTo>
                  <a:lnTo>
                    <a:pt x="50" y="16"/>
                  </a:lnTo>
                  <a:lnTo>
                    <a:pt x="50" y="16"/>
                  </a:lnTo>
                  <a:lnTo>
                    <a:pt x="44" y="16"/>
                  </a:lnTo>
                  <a:lnTo>
                    <a:pt x="38" y="18"/>
                  </a:lnTo>
                  <a:lnTo>
                    <a:pt x="32" y="22"/>
                  </a:lnTo>
                  <a:lnTo>
                    <a:pt x="28" y="26"/>
                  </a:lnTo>
                  <a:lnTo>
                    <a:pt x="22" y="36"/>
                  </a:lnTo>
                  <a:lnTo>
                    <a:pt x="18" y="48"/>
                  </a:lnTo>
                  <a:lnTo>
                    <a:pt x="84" y="48"/>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51" name="Freeform 121"/>
            <p:cNvSpPr>
              <a:spLocks/>
            </p:cNvSpPr>
            <p:nvPr/>
          </p:nvSpPr>
          <p:spPr bwMode="auto">
            <a:xfrm>
              <a:off x="6877050" y="5372100"/>
              <a:ext cx="152400" cy="184150"/>
            </a:xfrm>
            <a:custGeom>
              <a:avLst/>
              <a:gdLst>
                <a:gd name="T0" fmla="*/ 20 w 96"/>
                <a:gd name="T1" fmla="*/ 80 h 116"/>
                <a:gd name="T2" fmla="*/ 22 w 96"/>
                <a:gd name="T3" fmla="*/ 90 h 116"/>
                <a:gd name="T4" fmla="*/ 28 w 96"/>
                <a:gd name="T5" fmla="*/ 96 h 116"/>
                <a:gd name="T6" fmla="*/ 50 w 96"/>
                <a:gd name="T7" fmla="*/ 100 h 116"/>
                <a:gd name="T8" fmla="*/ 58 w 96"/>
                <a:gd name="T9" fmla="*/ 100 h 116"/>
                <a:gd name="T10" fmla="*/ 74 w 96"/>
                <a:gd name="T11" fmla="*/ 92 h 116"/>
                <a:gd name="T12" fmla="*/ 76 w 96"/>
                <a:gd name="T13" fmla="*/ 84 h 116"/>
                <a:gd name="T14" fmla="*/ 76 w 96"/>
                <a:gd name="T15" fmla="*/ 80 h 116"/>
                <a:gd name="T16" fmla="*/ 70 w 96"/>
                <a:gd name="T17" fmla="*/ 72 h 116"/>
                <a:gd name="T18" fmla="*/ 54 w 96"/>
                <a:gd name="T19" fmla="*/ 66 h 116"/>
                <a:gd name="T20" fmla="*/ 40 w 96"/>
                <a:gd name="T21" fmla="*/ 64 h 116"/>
                <a:gd name="T22" fmla="*/ 14 w 96"/>
                <a:gd name="T23" fmla="*/ 54 h 116"/>
                <a:gd name="T24" fmla="*/ 6 w 96"/>
                <a:gd name="T25" fmla="*/ 44 h 116"/>
                <a:gd name="T26" fmla="*/ 2 w 96"/>
                <a:gd name="T27" fmla="*/ 32 h 116"/>
                <a:gd name="T28" fmla="*/ 4 w 96"/>
                <a:gd name="T29" fmla="*/ 24 h 116"/>
                <a:gd name="T30" fmla="*/ 12 w 96"/>
                <a:gd name="T31" fmla="*/ 12 h 116"/>
                <a:gd name="T32" fmla="*/ 24 w 96"/>
                <a:gd name="T33" fmla="*/ 4 h 116"/>
                <a:gd name="T34" fmla="*/ 44 w 96"/>
                <a:gd name="T35" fmla="*/ 0 h 116"/>
                <a:gd name="T36" fmla="*/ 62 w 96"/>
                <a:gd name="T37" fmla="*/ 2 h 116"/>
                <a:gd name="T38" fmla="*/ 76 w 96"/>
                <a:gd name="T39" fmla="*/ 6 h 116"/>
                <a:gd name="T40" fmla="*/ 86 w 96"/>
                <a:gd name="T41" fmla="*/ 18 h 116"/>
                <a:gd name="T42" fmla="*/ 90 w 96"/>
                <a:gd name="T43" fmla="*/ 34 h 116"/>
                <a:gd name="T44" fmla="*/ 72 w 96"/>
                <a:gd name="T45" fmla="*/ 34 h 116"/>
                <a:gd name="T46" fmla="*/ 64 w 96"/>
                <a:gd name="T47" fmla="*/ 20 h 116"/>
                <a:gd name="T48" fmla="*/ 46 w 96"/>
                <a:gd name="T49" fmla="*/ 16 h 116"/>
                <a:gd name="T50" fmla="*/ 38 w 96"/>
                <a:gd name="T51" fmla="*/ 16 h 116"/>
                <a:gd name="T52" fmla="*/ 24 w 96"/>
                <a:gd name="T53" fmla="*/ 24 h 116"/>
                <a:gd name="T54" fmla="*/ 22 w 96"/>
                <a:gd name="T55" fmla="*/ 30 h 116"/>
                <a:gd name="T56" fmla="*/ 24 w 96"/>
                <a:gd name="T57" fmla="*/ 34 h 116"/>
                <a:gd name="T58" fmla="*/ 34 w 96"/>
                <a:gd name="T59" fmla="*/ 44 h 116"/>
                <a:gd name="T60" fmla="*/ 60 w 96"/>
                <a:gd name="T61" fmla="*/ 50 h 116"/>
                <a:gd name="T62" fmla="*/ 72 w 96"/>
                <a:gd name="T63" fmla="*/ 54 h 116"/>
                <a:gd name="T64" fmla="*/ 90 w 96"/>
                <a:gd name="T65" fmla="*/ 64 h 116"/>
                <a:gd name="T66" fmla="*/ 96 w 96"/>
                <a:gd name="T67" fmla="*/ 74 h 116"/>
                <a:gd name="T68" fmla="*/ 96 w 96"/>
                <a:gd name="T69" fmla="*/ 82 h 116"/>
                <a:gd name="T70" fmla="*/ 92 w 96"/>
                <a:gd name="T71" fmla="*/ 98 h 116"/>
                <a:gd name="T72" fmla="*/ 80 w 96"/>
                <a:gd name="T73" fmla="*/ 110 h 116"/>
                <a:gd name="T74" fmla="*/ 66 w 96"/>
                <a:gd name="T75" fmla="*/ 116 h 116"/>
                <a:gd name="T76" fmla="*/ 48 w 96"/>
                <a:gd name="T77" fmla="*/ 116 h 116"/>
                <a:gd name="T78" fmla="*/ 22 w 96"/>
                <a:gd name="T79" fmla="*/ 112 h 116"/>
                <a:gd name="T80" fmla="*/ 10 w 96"/>
                <a:gd name="T81" fmla="*/ 104 h 116"/>
                <a:gd name="T82" fmla="*/ 2 w 96"/>
                <a:gd name="T83" fmla="*/ 88 h 116"/>
                <a:gd name="T84" fmla="*/ 20 w 96"/>
                <a:gd name="T85" fmla="*/ 8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116">
                  <a:moveTo>
                    <a:pt x="20" y="80"/>
                  </a:moveTo>
                  <a:lnTo>
                    <a:pt x="20" y="80"/>
                  </a:lnTo>
                  <a:lnTo>
                    <a:pt x="20" y="84"/>
                  </a:lnTo>
                  <a:lnTo>
                    <a:pt x="22" y="90"/>
                  </a:lnTo>
                  <a:lnTo>
                    <a:pt x="24" y="94"/>
                  </a:lnTo>
                  <a:lnTo>
                    <a:pt x="28" y="96"/>
                  </a:lnTo>
                  <a:lnTo>
                    <a:pt x="38" y="100"/>
                  </a:lnTo>
                  <a:lnTo>
                    <a:pt x="50" y="100"/>
                  </a:lnTo>
                  <a:lnTo>
                    <a:pt x="50" y="100"/>
                  </a:lnTo>
                  <a:lnTo>
                    <a:pt x="58" y="100"/>
                  </a:lnTo>
                  <a:lnTo>
                    <a:pt x="68" y="98"/>
                  </a:lnTo>
                  <a:lnTo>
                    <a:pt x="74" y="92"/>
                  </a:lnTo>
                  <a:lnTo>
                    <a:pt x="76" y="88"/>
                  </a:lnTo>
                  <a:lnTo>
                    <a:pt x="76" y="84"/>
                  </a:lnTo>
                  <a:lnTo>
                    <a:pt x="76" y="84"/>
                  </a:lnTo>
                  <a:lnTo>
                    <a:pt x="76" y="80"/>
                  </a:lnTo>
                  <a:lnTo>
                    <a:pt x="74" y="76"/>
                  </a:lnTo>
                  <a:lnTo>
                    <a:pt x="70" y="72"/>
                  </a:lnTo>
                  <a:lnTo>
                    <a:pt x="64" y="70"/>
                  </a:lnTo>
                  <a:lnTo>
                    <a:pt x="54" y="66"/>
                  </a:lnTo>
                  <a:lnTo>
                    <a:pt x="40" y="64"/>
                  </a:lnTo>
                  <a:lnTo>
                    <a:pt x="40" y="64"/>
                  </a:lnTo>
                  <a:lnTo>
                    <a:pt x="26" y="60"/>
                  </a:lnTo>
                  <a:lnTo>
                    <a:pt x="14" y="54"/>
                  </a:lnTo>
                  <a:lnTo>
                    <a:pt x="10" y="50"/>
                  </a:lnTo>
                  <a:lnTo>
                    <a:pt x="6" y="44"/>
                  </a:lnTo>
                  <a:lnTo>
                    <a:pt x="4" y="38"/>
                  </a:lnTo>
                  <a:lnTo>
                    <a:pt x="2" y="32"/>
                  </a:lnTo>
                  <a:lnTo>
                    <a:pt x="2" y="32"/>
                  </a:lnTo>
                  <a:lnTo>
                    <a:pt x="4" y="24"/>
                  </a:lnTo>
                  <a:lnTo>
                    <a:pt x="6" y="16"/>
                  </a:lnTo>
                  <a:lnTo>
                    <a:pt x="12" y="12"/>
                  </a:lnTo>
                  <a:lnTo>
                    <a:pt x="16" y="8"/>
                  </a:lnTo>
                  <a:lnTo>
                    <a:pt x="24" y="4"/>
                  </a:lnTo>
                  <a:lnTo>
                    <a:pt x="30" y="2"/>
                  </a:lnTo>
                  <a:lnTo>
                    <a:pt x="44" y="0"/>
                  </a:lnTo>
                  <a:lnTo>
                    <a:pt x="44" y="0"/>
                  </a:lnTo>
                  <a:lnTo>
                    <a:pt x="62" y="2"/>
                  </a:lnTo>
                  <a:lnTo>
                    <a:pt x="70" y="4"/>
                  </a:lnTo>
                  <a:lnTo>
                    <a:pt x="76" y="6"/>
                  </a:lnTo>
                  <a:lnTo>
                    <a:pt x="82" y="12"/>
                  </a:lnTo>
                  <a:lnTo>
                    <a:pt x="86" y="18"/>
                  </a:lnTo>
                  <a:lnTo>
                    <a:pt x="90" y="26"/>
                  </a:lnTo>
                  <a:lnTo>
                    <a:pt x="90" y="34"/>
                  </a:lnTo>
                  <a:lnTo>
                    <a:pt x="72" y="34"/>
                  </a:lnTo>
                  <a:lnTo>
                    <a:pt x="72" y="34"/>
                  </a:lnTo>
                  <a:lnTo>
                    <a:pt x="70" y="26"/>
                  </a:lnTo>
                  <a:lnTo>
                    <a:pt x="64" y="20"/>
                  </a:lnTo>
                  <a:lnTo>
                    <a:pt x="56" y="16"/>
                  </a:lnTo>
                  <a:lnTo>
                    <a:pt x="46" y="16"/>
                  </a:lnTo>
                  <a:lnTo>
                    <a:pt x="46" y="16"/>
                  </a:lnTo>
                  <a:lnTo>
                    <a:pt x="38" y="16"/>
                  </a:lnTo>
                  <a:lnTo>
                    <a:pt x="30" y="18"/>
                  </a:lnTo>
                  <a:lnTo>
                    <a:pt x="24" y="24"/>
                  </a:lnTo>
                  <a:lnTo>
                    <a:pt x="24" y="26"/>
                  </a:lnTo>
                  <a:lnTo>
                    <a:pt x="22" y="30"/>
                  </a:lnTo>
                  <a:lnTo>
                    <a:pt x="22" y="30"/>
                  </a:lnTo>
                  <a:lnTo>
                    <a:pt x="24" y="34"/>
                  </a:lnTo>
                  <a:lnTo>
                    <a:pt x="26" y="38"/>
                  </a:lnTo>
                  <a:lnTo>
                    <a:pt x="34" y="44"/>
                  </a:lnTo>
                  <a:lnTo>
                    <a:pt x="46" y="46"/>
                  </a:lnTo>
                  <a:lnTo>
                    <a:pt x="60" y="50"/>
                  </a:lnTo>
                  <a:lnTo>
                    <a:pt x="60" y="50"/>
                  </a:lnTo>
                  <a:lnTo>
                    <a:pt x="72" y="54"/>
                  </a:lnTo>
                  <a:lnTo>
                    <a:pt x="84" y="60"/>
                  </a:lnTo>
                  <a:lnTo>
                    <a:pt x="90" y="64"/>
                  </a:lnTo>
                  <a:lnTo>
                    <a:pt x="92" y="68"/>
                  </a:lnTo>
                  <a:lnTo>
                    <a:pt x="96" y="74"/>
                  </a:lnTo>
                  <a:lnTo>
                    <a:pt x="96" y="82"/>
                  </a:lnTo>
                  <a:lnTo>
                    <a:pt x="96" y="82"/>
                  </a:lnTo>
                  <a:lnTo>
                    <a:pt x="94" y="90"/>
                  </a:lnTo>
                  <a:lnTo>
                    <a:pt x="92" y="98"/>
                  </a:lnTo>
                  <a:lnTo>
                    <a:pt x="86" y="104"/>
                  </a:lnTo>
                  <a:lnTo>
                    <a:pt x="80" y="110"/>
                  </a:lnTo>
                  <a:lnTo>
                    <a:pt x="74" y="112"/>
                  </a:lnTo>
                  <a:lnTo>
                    <a:pt x="66" y="116"/>
                  </a:lnTo>
                  <a:lnTo>
                    <a:pt x="48" y="116"/>
                  </a:lnTo>
                  <a:lnTo>
                    <a:pt x="48" y="116"/>
                  </a:lnTo>
                  <a:lnTo>
                    <a:pt x="30" y="114"/>
                  </a:lnTo>
                  <a:lnTo>
                    <a:pt x="22" y="112"/>
                  </a:lnTo>
                  <a:lnTo>
                    <a:pt x="16" y="108"/>
                  </a:lnTo>
                  <a:lnTo>
                    <a:pt x="10" y="104"/>
                  </a:lnTo>
                  <a:lnTo>
                    <a:pt x="4" y="96"/>
                  </a:lnTo>
                  <a:lnTo>
                    <a:pt x="2" y="88"/>
                  </a:lnTo>
                  <a:lnTo>
                    <a:pt x="0" y="80"/>
                  </a:lnTo>
                  <a:lnTo>
                    <a:pt x="20" y="8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52" name="Freeform 122"/>
            <p:cNvSpPr>
              <a:spLocks/>
            </p:cNvSpPr>
            <p:nvPr/>
          </p:nvSpPr>
          <p:spPr bwMode="auto">
            <a:xfrm>
              <a:off x="7051675" y="5372100"/>
              <a:ext cx="149225" cy="184150"/>
            </a:xfrm>
            <a:custGeom>
              <a:avLst/>
              <a:gdLst>
                <a:gd name="T0" fmla="*/ 18 w 94"/>
                <a:gd name="T1" fmla="*/ 80 h 116"/>
                <a:gd name="T2" fmla="*/ 20 w 94"/>
                <a:gd name="T3" fmla="*/ 90 h 116"/>
                <a:gd name="T4" fmla="*/ 28 w 94"/>
                <a:gd name="T5" fmla="*/ 96 h 116"/>
                <a:gd name="T6" fmla="*/ 48 w 94"/>
                <a:gd name="T7" fmla="*/ 100 h 116"/>
                <a:gd name="T8" fmla="*/ 56 w 94"/>
                <a:gd name="T9" fmla="*/ 100 h 116"/>
                <a:gd name="T10" fmla="*/ 72 w 94"/>
                <a:gd name="T11" fmla="*/ 92 h 116"/>
                <a:gd name="T12" fmla="*/ 74 w 94"/>
                <a:gd name="T13" fmla="*/ 84 h 116"/>
                <a:gd name="T14" fmla="*/ 74 w 94"/>
                <a:gd name="T15" fmla="*/ 80 h 116"/>
                <a:gd name="T16" fmla="*/ 68 w 94"/>
                <a:gd name="T17" fmla="*/ 72 h 116"/>
                <a:gd name="T18" fmla="*/ 52 w 94"/>
                <a:gd name="T19" fmla="*/ 66 h 116"/>
                <a:gd name="T20" fmla="*/ 38 w 94"/>
                <a:gd name="T21" fmla="*/ 64 h 116"/>
                <a:gd name="T22" fmla="*/ 14 w 94"/>
                <a:gd name="T23" fmla="*/ 54 h 116"/>
                <a:gd name="T24" fmla="*/ 4 w 94"/>
                <a:gd name="T25" fmla="*/ 44 h 116"/>
                <a:gd name="T26" fmla="*/ 2 w 94"/>
                <a:gd name="T27" fmla="*/ 32 h 116"/>
                <a:gd name="T28" fmla="*/ 2 w 94"/>
                <a:gd name="T29" fmla="*/ 24 h 116"/>
                <a:gd name="T30" fmla="*/ 10 w 94"/>
                <a:gd name="T31" fmla="*/ 12 h 116"/>
                <a:gd name="T32" fmla="*/ 22 w 94"/>
                <a:gd name="T33" fmla="*/ 4 h 116"/>
                <a:gd name="T34" fmla="*/ 44 w 94"/>
                <a:gd name="T35" fmla="*/ 0 h 116"/>
                <a:gd name="T36" fmla="*/ 60 w 94"/>
                <a:gd name="T37" fmla="*/ 2 h 116"/>
                <a:gd name="T38" fmla="*/ 76 w 94"/>
                <a:gd name="T39" fmla="*/ 6 h 116"/>
                <a:gd name="T40" fmla="*/ 86 w 94"/>
                <a:gd name="T41" fmla="*/ 18 h 116"/>
                <a:gd name="T42" fmla="*/ 90 w 94"/>
                <a:gd name="T43" fmla="*/ 34 h 116"/>
                <a:gd name="T44" fmla="*/ 70 w 94"/>
                <a:gd name="T45" fmla="*/ 34 h 116"/>
                <a:gd name="T46" fmla="*/ 62 w 94"/>
                <a:gd name="T47" fmla="*/ 20 h 116"/>
                <a:gd name="T48" fmla="*/ 44 w 94"/>
                <a:gd name="T49" fmla="*/ 16 h 116"/>
                <a:gd name="T50" fmla="*/ 36 w 94"/>
                <a:gd name="T51" fmla="*/ 16 h 116"/>
                <a:gd name="T52" fmla="*/ 24 w 94"/>
                <a:gd name="T53" fmla="*/ 24 h 116"/>
                <a:gd name="T54" fmla="*/ 22 w 94"/>
                <a:gd name="T55" fmla="*/ 30 h 116"/>
                <a:gd name="T56" fmla="*/ 22 w 94"/>
                <a:gd name="T57" fmla="*/ 34 h 116"/>
                <a:gd name="T58" fmla="*/ 32 w 94"/>
                <a:gd name="T59" fmla="*/ 44 h 116"/>
                <a:gd name="T60" fmla="*/ 58 w 94"/>
                <a:gd name="T61" fmla="*/ 50 h 116"/>
                <a:gd name="T62" fmla="*/ 72 w 94"/>
                <a:gd name="T63" fmla="*/ 54 h 116"/>
                <a:gd name="T64" fmla="*/ 88 w 94"/>
                <a:gd name="T65" fmla="*/ 64 h 116"/>
                <a:gd name="T66" fmla="*/ 94 w 94"/>
                <a:gd name="T67" fmla="*/ 74 h 116"/>
                <a:gd name="T68" fmla="*/ 94 w 94"/>
                <a:gd name="T69" fmla="*/ 82 h 116"/>
                <a:gd name="T70" fmla="*/ 90 w 94"/>
                <a:gd name="T71" fmla="*/ 98 h 116"/>
                <a:gd name="T72" fmla="*/ 80 w 94"/>
                <a:gd name="T73" fmla="*/ 110 h 116"/>
                <a:gd name="T74" fmla="*/ 64 w 94"/>
                <a:gd name="T75" fmla="*/ 116 h 116"/>
                <a:gd name="T76" fmla="*/ 46 w 94"/>
                <a:gd name="T77" fmla="*/ 116 h 116"/>
                <a:gd name="T78" fmla="*/ 20 w 94"/>
                <a:gd name="T79" fmla="*/ 112 h 116"/>
                <a:gd name="T80" fmla="*/ 8 w 94"/>
                <a:gd name="T81" fmla="*/ 104 h 116"/>
                <a:gd name="T82" fmla="*/ 0 w 94"/>
                <a:gd name="T83" fmla="*/ 88 h 116"/>
                <a:gd name="T84" fmla="*/ 18 w 94"/>
                <a:gd name="T85" fmla="*/ 8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 h="116">
                  <a:moveTo>
                    <a:pt x="18" y="80"/>
                  </a:moveTo>
                  <a:lnTo>
                    <a:pt x="18" y="80"/>
                  </a:lnTo>
                  <a:lnTo>
                    <a:pt x="18" y="84"/>
                  </a:lnTo>
                  <a:lnTo>
                    <a:pt x="20" y="90"/>
                  </a:lnTo>
                  <a:lnTo>
                    <a:pt x="24" y="94"/>
                  </a:lnTo>
                  <a:lnTo>
                    <a:pt x="28" y="96"/>
                  </a:lnTo>
                  <a:lnTo>
                    <a:pt x="36" y="100"/>
                  </a:lnTo>
                  <a:lnTo>
                    <a:pt x="48" y="100"/>
                  </a:lnTo>
                  <a:lnTo>
                    <a:pt x="48" y="100"/>
                  </a:lnTo>
                  <a:lnTo>
                    <a:pt x="56" y="100"/>
                  </a:lnTo>
                  <a:lnTo>
                    <a:pt x="66" y="98"/>
                  </a:lnTo>
                  <a:lnTo>
                    <a:pt x="72" y="92"/>
                  </a:lnTo>
                  <a:lnTo>
                    <a:pt x="74" y="88"/>
                  </a:lnTo>
                  <a:lnTo>
                    <a:pt x="74" y="84"/>
                  </a:lnTo>
                  <a:lnTo>
                    <a:pt x="74" y="84"/>
                  </a:lnTo>
                  <a:lnTo>
                    <a:pt x="74" y="80"/>
                  </a:lnTo>
                  <a:lnTo>
                    <a:pt x="72" y="76"/>
                  </a:lnTo>
                  <a:lnTo>
                    <a:pt x="68" y="72"/>
                  </a:lnTo>
                  <a:lnTo>
                    <a:pt x="64" y="70"/>
                  </a:lnTo>
                  <a:lnTo>
                    <a:pt x="52" y="66"/>
                  </a:lnTo>
                  <a:lnTo>
                    <a:pt x="38" y="64"/>
                  </a:lnTo>
                  <a:lnTo>
                    <a:pt x="38" y="64"/>
                  </a:lnTo>
                  <a:lnTo>
                    <a:pt x="24" y="60"/>
                  </a:lnTo>
                  <a:lnTo>
                    <a:pt x="14" y="54"/>
                  </a:lnTo>
                  <a:lnTo>
                    <a:pt x="8" y="50"/>
                  </a:lnTo>
                  <a:lnTo>
                    <a:pt x="4" y="44"/>
                  </a:lnTo>
                  <a:lnTo>
                    <a:pt x="2" y="38"/>
                  </a:lnTo>
                  <a:lnTo>
                    <a:pt x="2" y="32"/>
                  </a:lnTo>
                  <a:lnTo>
                    <a:pt x="2" y="32"/>
                  </a:lnTo>
                  <a:lnTo>
                    <a:pt x="2" y="24"/>
                  </a:lnTo>
                  <a:lnTo>
                    <a:pt x="6" y="16"/>
                  </a:lnTo>
                  <a:lnTo>
                    <a:pt x="10" y="12"/>
                  </a:lnTo>
                  <a:lnTo>
                    <a:pt x="16" y="8"/>
                  </a:lnTo>
                  <a:lnTo>
                    <a:pt x="22" y="4"/>
                  </a:lnTo>
                  <a:lnTo>
                    <a:pt x="28" y="2"/>
                  </a:lnTo>
                  <a:lnTo>
                    <a:pt x="44" y="0"/>
                  </a:lnTo>
                  <a:lnTo>
                    <a:pt x="44" y="0"/>
                  </a:lnTo>
                  <a:lnTo>
                    <a:pt x="60" y="2"/>
                  </a:lnTo>
                  <a:lnTo>
                    <a:pt x="68" y="4"/>
                  </a:lnTo>
                  <a:lnTo>
                    <a:pt x="76" y="6"/>
                  </a:lnTo>
                  <a:lnTo>
                    <a:pt x="80" y="12"/>
                  </a:lnTo>
                  <a:lnTo>
                    <a:pt x="86" y="18"/>
                  </a:lnTo>
                  <a:lnTo>
                    <a:pt x="88" y="26"/>
                  </a:lnTo>
                  <a:lnTo>
                    <a:pt x="90" y="34"/>
                  </a:lnTo>
                  <a:lnTo>
                    <a:pt x="70" y="34"/>
                  </a:lnTo>
                  <a:lnTo>
                    <a:pt x="70" y="34"/>
                  </a:lnTo>
                  <a:lnTo>
                    <a:pt x="68" y="26"/>
                  </a:lnTo>
                  <a:lnTo>
                    <a:pt x="62" y="20"/>
                  </a:lnTo>
                  <a:lnTo>
                    <a:pt x="54" y="16"/>
                  </a:lnTo>
                  <a:lnTo>
                    <a:pt x="44" y="16"/>
                  </a:lnTo>
                  <a:lnTo>
                    <a:pt x="44" y="16"/>
                  </a:lnTo>
                  <a:lnTo>
                    <a:pt x="36" y="16"/>
                  </a:lnTo>
                  <a:lnTo>
                    <a:pt x="28" y="18"/>
                  </a:lnTo>
                  <a:lnTo>
                    <a:pt x="24" y="24"/>
                  </a:lnTo>
                  <a:lnTo>
                    <a:pt x="22" y="26"/>
                  </a:lnTo>
                  <a:lnTo>
                    <a:pt x="22" y="30"/>
                  </a:lnTo>
                  <a:lnTo>
                    <a:pt x="22" y="30"/>
                  </a:lnTo>
                  <a:lnTo>
                    <a:pt x="22" y="34"/>
                  </a:lnTo>
                  <a:lnTo>
                    <a:pt x="24" y="38"/>
                  </a:lnTo>
                  <a:lnTo>
                    <a:pt x="32" y="44"/>
                  </a:lnTo>
                  <a:lnTo>
                    <a:pt x="44" y="46"/>
                  </a:lnTo>
                  <a:lnTo>
                    <a:pt x="58" y="50"/>
                  </a:lnTo>
                  <a:lnTo>
                    <a:pt x="58" y="50"/>
                  </a:lnTo>
                  <a:lnTo>
                    <a:pt x="72" y="54"/>
                  </a:lnTo>
                  <a:lnTo>
                    <a:pt x="82" y="60"/>
                  </a:lnTo>
                  <a:lnTo>
                    <a:pt x="88" y="64"/>
                  </a:lnTo>
                  <a:lnTo>
                    <a:pt x="92" y="68"/>
                  </a:lnTo>
                  <a:lnTo>
                    <a:pt x="94" y="74"/>
                  </a:lnTo>
                  <a:lnTo>
                    <a:pt x="94" y="82"/>
                  </a:lnTo>
                  <a:lnTo>
                    <a:pt x="94" y="82"/>
                  </a:lnTo>
                  <a:lnTo>
                    <a:pt x="94" y="90"/>
                  </a:lnTo>
                  <a:lnTo>
                    <a:pt x="90" y="98"/>
                  </a:lnTo>
                  <a:lnTo>
                    <a:pt x="86" y="104"/>
                  </a:lnTo>
                  <a:lnTo>
                    <a:pt x="80" y="110"/>
                  </a:lnTo>
                  <a:lnTo>
                    <a:pt x="72" y="112"/>
                  </a:lnTo>
                  <a:lnTo>
                    <a:pt x="64" y="116"/>
                  </a:lnTo>
                  <a:lnTo>
                    <a:pt x="46" y="116"/>
                  </a:lnTo>
                  <a:lnTo>
                    <a:pt x="46" y="116"/>
                  </a:lnTo>
                  <a:lnTo>
                    <a:pt x="28" y="114"/>
                  </a:lnTo>
                  <a:lnTo>
                    <a:pt x="20" y="112"/>
                  </a:lnTo>
                  <a:lnTo>
                    <a:pt x="14" y="108"/>
                  </a:lnTo>
                  <a:lnTo>
                    <a:pt x="8" y="104"/>
                  </a:lnTo>
                  <a:lnTo>
                    <a:pt x="4" y="96"/>
                  </a:lnTo>
                  <a:lnTo>
                    <a:pt x="0" y="88"/>
                  </a:lnTo>
                  <a:lnTo>
                    <a:pt x="0" y="80"/>
                  </a:lnTo>
                  <a:lnTo>
                    <a:pt x="18" y="80"/>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53" name="Rectangle 123"/>
            <p:cNvSpPr>
              <a:spLocks noChangeArrowheads="1"/>
            </p:cNvSpPr>
            <p:nvPr/>
          </p:nvSpPr>
          <p:spPr bwMode="auto">
            <a:xfrm>
              <a:off x="3549650" y="4606925"/>
              <a:ext cx="107950" cy="495300"/>
            </a:xfrm>
            <a:prstGeom prst="rect">
              <a:avLst/>
            </a:prstGeom>
            <a:solidFill>
              <a:srgbClr val="FFD4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sp>
          <p:nvSpPr>
            <p:cNvPr id="54" name="Freeform 124"/>
            <p:cNvSpPr>
              <a:spLocks/>
            </p:cNvSpPr>
            <p:nvPr/>
          </p:nvSpPr>
          <p:spPr bwMode="auto">
            <a:xfrm>
              <a:off x="3698875" y="4606925"/>
              <a:ext cx="403225" cy="495300"/>
            </a:xfrm>
            <a:custGeom>
              <a:avLst/>
              <a:gdLst>
                <a:gd name="T0" fmla="*/ 92 w 254"/>
                <a:gd name="T1" fmla="*/ 58 h 312"/>
                <a:gd name="T2" fmla="*/ 0 w 254"/>
                <a:gd name="T3" fmla="*/ 58 h 312"/>
                <a:gd name="T4" fmla="*/ 0 w 254"/>
                <a:gd name="T5" fmla="*/ 0 h 312"/>
                <a:gd name="T6" fmla="*/ 254 w 254"/>
                <a:gd name="T7" fmla="*/ 0 h 312"/>
                <a:gd name="T8" fmla="*/ 254 w 254"/>
                <a:gd name="T9" fmla="*/ 58 h 312"/>
                <a:gd name="T10" fmla="*/ 162 w 254"/>
                <a:gd name="T11" fmla="*/ 58 h 312"/>
                <a:gd name="T12" fmla="*/ 162 w 254"/>
                <a:gd name="T13" fmla="*/ 312 h 312"/>
                <a:gd name="T14" fmla="*/ 92 w 254"/>
                <a:gd name="T15" fmla="*/ 312 h 312"/>
                <a:gd name="T16" fmla="*/ 92 w 254"/>
                <a:gd name="T17" fmla="*/ 58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312">
                  <a:moveTo>
                    <a:pt x="92" y="58"/>
                  </a:moveTo>
                  <a:lnTo>
                    <a:pt x="0" y="58"/>
                  </a:lnTo>
                  <a:lnTo>
                    <a:pt x="0" y="0"/>
                  </a:lnTo>
                  <a:lnTo>
                    <a:pt x="254" y="0"/>
                  </a:lnTo>
                  <a:lnTo>
                    <a:pt x="254" y="58"/>
                  </a:lnTo>
                  <a:lnTo>
                    <a:pt x="162" y="58"/>
                  </a:lnTo>
                  <a:lnTo>
                    <a:pt x="162" y="312"/>
                  </a:lnTo>
                  <a:lnTo>
                    <a:pt x="92" y="312"/>
                  </a:lnTo>
                  <a:lnTo>
                    <a:pt x="92" y="58"/>
                  </a:lnTo>
                  <a:close/>
                </a:path>
              </a:pathLst>
            </a:custGeom>
            <a:solidFill>
              <a:srgbClr val="FF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26"/>
              <a:endParaRPr lang="en-IN" sz="1799" dirty="0">
                <a:solidFill>
                  <a:prstClr val="black"/>
                </a:solidFill>
              </a:endParaRPr>
            </a:p>
          </p:txBody>
        </p:sp>
      </p:grpSp>
    </p:spTree>
    <p:extLst>
      <p:ext uri="{BB962C8B-B14F-4D97-AF65-F5344CB8AC3E}">
        <p14:creationId xmlns:p14="http://schemas.microsoft.com/office/powerpoint/2010/main" val="15700279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columns with signature circl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 xmlns:a16="http://schemas.microsoft.com/office/drawing/2014/main" id="{46919663-CB01-46C8-8B1A-7D7C5FFB79D0}"/>
              </a:ext>
            </a:extLst>
          </p:cNvPr>
          <p:cNvSpPr/>
          <p:nvPr userDrawn="1"/>
        </p:nvSpPr>
        <p:spPr>
          <a:xfrm>
            <a:off x="997846" y="2708996"/>
            <a:ext cx="3016734"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pt-PT" sz="1799">
              <a:solidFill>
                <a:srgbClr val="FFFFFF"/>
              </a:solidFill>
            </a:endParaRPr>
          </a:p>
        </p:txBody>
      </p:sp>
      <p:sp>
        <p:nvSpPr>
          <p:cNvPr id="16" name="Rectangle 15">
            <a:extLst>
              <a:ext uri="{FF2B5EF4-FFF2-40B4-BE49-F238E27FC236}">
                <a16:creationId xmlns="" xmlns:a16="http://schemas.microsoft.com/office/drawing/2014/main" id="{07A11129-008D-4898-86B9-B6C83562FA3A}"/>
              </a:ext>
            </a:extLst>
          </p:cNvPr>
          <p:cNvSpPr/>
          <p:nvPr userDrawn="1"/>
        </p:nvSpPr>
        <p:spPr>
          <a:xfrm>
            <a:off x="4600068" y="2744280"/>
            <a:ext cx="3016734"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pt-PT" sz="1799">
              <a:solidFill>
                <a:srgbClr val="FFFFFF"/>
              </a:solidFill>
            </a:endParaRPr>
          </a:p>
        </p:txBody>
      </p:sp>
      <p:sp>
        <p:nvSpPr>
          <p:cNvPr id="17" name="Rectangle 16">
            <a:extLst>
              <a:ext uri="{FF2B5EF4-FFF2-40B4-BE49-F238E27FC236}">
                <a16:creationId xmlns="" xmlns:a16="http://schemas.microsoft.com/office/drawing/2014/main" id="{92D1F7AF-5F53-4627-A1CF-B58FCC387FCC}"/>
              </a:ext>
            </a:extLst>
          </p:cNvPr>
          <p:cNvSpPr/>
          <p:nvPr userDrawn="1"/>
        </p:nvSpPr>
        <p:spPr>
          <a:xfrm>
            <a:off x="8202289" y="2744280"/>
            <a:ext cx="3016734"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pt-PT" sz="1799">
              <a:solidFill>
                <a:srgbClr val="FFFFFF"/>
              </a:solidFill>
            </a:endParaRPr>
          </a:p>
        </p:txBody>
      </p:sp>
      <p:sp>
        <p:nvSpPr>
          <p:cNvPr id="12" name="Oval 20">
            <a:extLst>
              <a:ext uri="{FF2B5EF4-FFF2-40B4-BE49-F238E27FC236}">
                <a16:creationId xmlns="" xmlns:a16="http://schemas.microsoft.com/office/drawing/2014/main" id="{C5DBDB28-88AB-4F14-9F73-9D7C1E6EE4B1}"/>
              </a:ext>
            </a:extLst>
          </p:cNvPr>
          <p:cNvSpPr/>
          <p:nvPr userDrawn="1"/>
        </p:nvSpPr>
        <p:spPr>
          <a:xfrm>
            <a:off x="8672576" y="1772817"/>
            <a:ext cx="2076162"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pt-PT" sz="1799">
              <a:solidFill>
                <a:srgbClr val="FFFFFF"/>
              </a:solidFill>
            </a:endParaRPr>
          </a:p>
        </p:txBody>
      </p:sp>
      <p:sp>
        <p:nvSpPr>
          <p:cNvPr id="13" name="Oval 20">
            <a:extLst>
              <a:ext uri="{FF2B5EF4-FFF2-40B4-BE49-F238E27FC236}">
                <a16:creationId xmlns="" xmlns:a16="http://schemas.microsoft.com/office/drawing/2014/main" id="{2F532516-8DF9-44A4-935A-3131E96D437E}"/>
              </a:ext>
            </a:extLst>
          </p:cNvPr>
          <p:cNvSpPr/>
          <p:nvPr userDrawn="1"/>
        </p:nvSpPr>
        <p:spPr>
          <a:xfrm>
            <a:off x="5070355" y="1772817"/>
            <a:ext cx="2076162"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pt-PT" sz="1799">
              <a:solidFill>
                <a:srgbClr val="FFFFFF"/>
              </a:solidFill>
            </a:endParaRPr>
          </a:p>
        </p:txBody>
      </p:sp>
      <p:sp>
        <p:nvSpPr>
          <p:cNvPr id="14" name="Oval 20">
            <a:extLst>
              <a:ext uri="{FF2B5EF4-FFF2-40B4-BE49-F238E27FC236}">
                <a16:creationId xmlns="" xmlns:a16="http://schemas.microsoft.com/office/drawing/2014/main" id="{41ACABC2-6590-4E4B-9507-376785C34C7E}"/>
              </a:ext>
            </a:extLst>
          </p:cNvPr>
          <p:cNvSpPr/>
          <p:nvPr userDrawn="1"/>
        </p:nvSpPr>
        <p:spPr>
          <a:xfrm>
            <a:off x="1468133" y="1772817"/>
            <a:ext cx="2076162"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pt-PT" sz="2799" b="1">
              <a:solidFill>
                <a:srgbClr val="FFFFFF"/>
              </a:solidFill>
            </a:endParaRPr>
          </a:p>
        </p:txBody>
      </p:sp>
      <p:sp>
        <p:nvSpPr>
          <p:cNvPr id="27" name="Text Placeholder 26">
            <a:extLst>
              <a:ext uri="{FF2B5EF4-FFF2-40B4-BE49-F238E27FC236}">
                <a16:creationId xmlns="" xmlns:a16="http://schemas.microsoft.com/office/drawing/2014/main" id="{EE342E13-99A8-4C50-9113-E5C3E8EF275E}"/>
              </a:ext>
            </a:extLst>
          </p:cNvPr>
          <p:cNvSpPr>
            <a:spLocks noGrp="1"/>
          </p:cNvSpPr>
          <p:nvPr>
            <p:ph type="body" sz="quarter" idx="10" hasCustomPrompt="1"/>
          </p:nvPr>
        </p:nvSpPr>
        <p:spPr>
          <a:xfrm>
            <a:off x="1678548" y="2492376"/>
            <a:ext cx="1655331" cy="576263"/>
          </a:xfrm>
          <a:prstGeom prst="rect">
            <a:avLst/>
          </a:prstGeom>
        </p:spPr>
        <p:txBody>
          <a:bodyPr anchor="ctr">
            <a:noAutofit/>
          </a:bodyPr>
          <a:lstStyle>
            <a:lvl1pPr algn="ctr">
              <a:lnSpc>
                <a:spcPts val="2999"/>
              </a:lnSpc>
              <a:defRPr sz="2599" b="1">
                <a:solidFill>
                  <a:schemeClr val="bg1"/>
                </a:solidFill>
              </a:defRPr>
            </a:lvl1pPr>
          </a:lstStyle>
          <a:p>
            <a:pPr lvl="0"/>
            <a:r>
              <a:rPr lang="pt-PT" dirty="0" err="1"/>
              <a:t>xx</a:t>
            </a:r>
            <a:r>
              <a:rPr lang="pt-PT" dirty="0"/>
              <a:t>%</a:t>
            </a:r>
          </a:p>
        </p:txBody>
      </p:sp>
      <p:sp>
        <p:nvSpPr>
          <p:cNvPr id="28" name="Text Placeholder 26">
            <a:extLst>
              <a:ext uri="{FF2B5EF4-FFF2-40B4-BE49-F238E27FC236}">
                <a16:creationId xmlns="" xmlns:a16="http://schemas.microsoft.com/office/drawing/2014/main" id="{28BE06D5-C195-451B-AC35-95E3C649BB59}"/>
              </a:ext>
            </a:extLst>
          </p:cNvPr>
          <p:cNvSpPr>
            <a:spLocks noGrp="1"/>
          </p:cNvSpPr>
          <p:nvPr>
            <p:ph type="body" sz="quarter" idx="11" hasCustomPrompt="1"/>
          </p:nvPr>
        </p:nvSpPr>
        <p:spPr>
          <a:xfrm>
            <a:off x="5280769" y="2492897"/>
            <a:ext cx="1655331" cy="576263"/>
          </a:xfrm>
          <a:prstGeom prst="rect">
            <a:avLst/>
          </a:prstGeom>
        </p:spPr>
        <p:txBody>
          <a:bodyPr anchor="ctr">
            <a:noAutofit/>
          </a:bodyPr>
          <a:lstStyle>
            <a:lvl1pPr algn="ctr">
              <a:lnSpc>
                <a:spcPts val="2999"/>
              </a:lnSpc>
              <a:defRPr sz="2599" b="1">
                <a:solidFill>
                  <a:schemeClr val="bg1"/>
                </a:solidFill>
              </a:defRPr>
            </a:lvl1pPr>
          </a:lstStyle>
          <a:p>
            <a:pPr lvl="0"/>
            <a:r>
              <a:rPr lang="pt-PT" dirty="0" err="1"/>
              <a:t>xx</a:t>
            </a:r>
            <a:r>
              <a:rPr lang="pt-PT" dirty="0"/>
              <a:t>%</a:t>
            </a:r>
          </a:p>
        </p:txBody>
      </p:sp>
      <p:sp>
        <p:nvSpPr>
          <p:cNvPr id="29" name="Text Placeholder 26">
            <a:extLst>
              <a:ext uri="{FF2B5EF4-FFF2-40B4-BE49-F238E27FC236}">
                <a16:creationId xmlns="" xmlns:a16="http://schemas.microsoft.com/office/drawing/2014/main" id="{303436BB-C15C-4765-BFF1-9337F7680429}"/>
              </a:ext>
            </a:extLst>
          </p:cNvPr>
          <p:cNvSpPr>
            <a:spLocks noGrp="1"/>
          </p:cNvSpPr>
          <p:nvPr>
            <p:ph type="body" sz="quarter" idx="12" hasCustomPrompt="1"/>
          </p:nvPr>
        </p:nvSpPr>
        <p:spPr>
          <a:xfrm>
            <a:off x="8882990" y="2465856"/>
            <a:ext cx="1655331" cy="576263"/>
          </a:xfrm>
          <a:prstGeom prst="rect">
            <a:avLst/>
          </a:prstGeom>
        </p:spPr>
        <p:txBody>
          <a:bodyPr anchor="ctr">
            <a:noAutofit/>
          </a:bodyPr>
          <a:lstStyle>
            <a:lvl1pPr algn="ctr">
              <a:lnSpc>
                <a:spcPts val="2999"/>
              </a:lnSpc>
              <a:defRPr sz="2599" b="1">
                <a:solidFill>
                  <a:schemeClr val="bg1"/>
                </a:solidFill>
              </a:defRPr>
            </a:lvl1pPr>
          </a:lstStyle>
          <a:p>
            <a:pPr lvl="0"/>
            <a:r>
              <a:rPr lang="pt-PT" dirty="0" err="1"/>
              <a:t>xx</a:t>
            </a:r>
            <a:r>
              <a:rPr lang="pt-PT" dirty="0"/>
              <a:t>%</a:t>
            </a:r>
          </a:p>
        </p:txBody>
      </p:sp>
      <p:sp>
        <p:nvSpPr>
          <p:cNvPr id="31" name="Text Placeholder 30">
            <a:extLst>
              <a:ext uri="{FF2B5EF4-FFF2-40B4-BE49-F238E27FC236}">
                <a16:creationId xmlns="" xmlns:a16="http://schemas.microsoft.com/office/drawing/2014/main" id="{1162E3C5-6092-4641-B639-FF818E2DB588}"/>
              </a:ext>
            </a:extLst>
          </p:cNvPr>
          <p:cNvSpPr>
            <a:spLocks noGrp="1"/>
          </p:cNvSpPr>
          <p:nvPr>
            <p:ph type="body" sz="quarter" idx="13" hasCustomPrompt="1"/>
          </p:nvPr>
        </p:nvSpPr>
        <p:spPr>
          <a:xfrm>
            <a:off x="1138145" y="4005263"/>
            <a:ext cx="2736137" cy="647700"/>
          </a:xfrm>
          <a:prstGeom prst="rect">
            <a:avLst/>
          </a:prstGeom>
        </p:spPr>
        <p:txBody>
          <a:bodyPr/>
          <a:lstStyle>
            <a:lvl1pPr algn="ctr">
              <a:defRPr/>
            </a:lvl1pPr>
            <a:lvl2pPr marL="457063" indent="0">
              <a:buNone/>
              <a:defRPr/>
            </a:lvl2pPr>
          </a:lstStyle>
          <a:p>
            <a:pPr lvl="0"/>
            <a:r>
              <a:rPr lang="en-US" dirty="0"/>
              <a:t>Click to insert text</a:t>
            </a:r>
          </a:p>
        </p:txBody>
      </p:sp>
      <p:sp>
        <p:nvSpPr>
          <p:cNvPr id="32" name="Text Placeholder 30">
            <a:extLst>
              <a:ext uri="{FF2B5EF4-FFF2-40B4-BE49-F238E27FC236}">
                <a16:creationId xmlns="" xmlns:a16="http://schemas.microsoft.com/office/drawing/2014/main" id="{B4C4A495-4C6A-49E0-8118-A975B2E88321}"/>
              </a:ext>
            </a:extLst>
          </p:cNvPr>
          <p:cNvSpPr>
            <a:spLocks noGrp="1"/>
          </p:cNvSpPr>
          <p:nvPr>
            <p:ph type="body" sz="quarter" idx="14" hasCustomPrompt="1"/>
          </p:nvPr>
        </p:nvSpPr>
        <p:spPr>
          <a:xfrm>
            <a:off x="4740366" y="4005064"/>
            <a:ext cx="2736137" cy="647700"/>
          </a:xfrm>
          <a:prstGeom prst="rect">
            <a:avLst/>
          </a:prstGeom>
        </p:spPr>
        <p:txBody>
          <a:bodyPr/>
          <a:lstStyle>
            <a:lvl1pPr algn="ctr">
              <a:defRPr/>
            </a:lvl1pPr>
            <a:lvl2pPr marL="457063" indent="0">
              <a:buNone/>
              <a:defRPr/>
            </a:lvl2pPr>
          </a:lstStyle>
          <a:p>
            <a:pPr lvl="0"/>
            <a:r>
              <a:rPr lang="en-US" dirty="0"/>
              <a:t>Click to insert text</a:t>
            </a:r>
          </a:p>
        </p:txBody>
      </p:sp>
      <p:sp>
        <p:nvSpPr>
          <p:cNvPr id="33" name="Text Placeholder 30">
            <a:extLst>
              <a:ext uri="{FF2B5EF4-FFF2-40B4-BE49-F238E27FC236}">
                <a16:creationId xmlns="" xmlns:a16="http://schemas.microsoft.com/office/drawing/2014/main" id="{8C784D9E-AFE4-47BA-87D1-E386C20ED64C}"/>
              </a:ext>
            </a:extLst>
          </p:cNvPr>
          <p:cNvSpPr>
            <a:spLocks noGrp="1"/>
          </p:cNvSpPr>
          <p:nvPr>
            <p:ph type="body" sz="quarter" idx="15" hasCustomPrompt="1"/>
          </p:nvPr>
        </p:nvSpPr>
        <p:spPr>
          <a:xfrm>
            <a:off x="8342587" y="4005064"/>
            <a:ext cx="2736137" cy="647700"/>
          </a:xfrm>
          <a:prstGeom prst="rect">
            <a:avLst/>
          </a:prstGeom>
        </p:spPr>
        <p:txBody>
          <a:bodyPr/>
          <a:lstStyle>
            <a:lvl1pPr algn="ctr">
              <a:defRPr/>
            </a:lvl1pPr>
            <a:lvl2pPr marL="457063" indent="0">
              <a:buNone/>
              <a:defRPr/>
            </a:lvl2pPr>
          </a:lstStyle>
          <a:p>
            <a:pPr lvl="0"/>
            <a:r>
              <a:rPr lang="en-US" dirty="0"/>
              <a:t>Click to insert text</a:t>
            </a:r>
          </a:p>
        </p:txBody>
      </p:sp>
      <p:sp>
        <p:nvSpPr>
          <p:cNvPr id="37" name="Text Placeholder 36">
            <a:extLst>
              <a:ext uri="{FF2B5EF4-FFF2-40B4-BE49-F238E27FC236}">
                <a16:creationId xmlns="" xmlns:a16="http://schemas.microsoft.com/office/drawing/2014/main" id="{38EBB49C-19EA-4D54-98F7-9E9FF53FD1B6}"/>
              </a:ext>
            </a:extLst>
          </p:cNvPr>
          <p:cNvSpPr>
            <a:spLocks noGrp="1"/>
          </p:cNvSpPr>
          <p:nvPr>
            <p:ph type="body" sz="quarter" idx="16" hasCustomPrompt="1"/>
          </p:nvPr>
        </p:nvSpPr>
        <p:spPr>
          <a:xfrm>
            <a:off x="8342587" y="4941889"/>
            <a:ext cx="2736137" cy="935037"/>
          </a:xfrm>
          <a:prstGeom prst="rect">
            <a:avLst/>
          </a:prstGeom>
        </p:spPr>
        <p:txBody>
          <a:bodyPr>
            <a:normAutofit/>
          </a:bodyPr>
          <a:lstStyle>
            <a:lvl1pPr>
              <a:defRPr sz="1400"/>
            </a:lvl1pPr>
          </a:lstStyle>
          <a:p>
            <a:pPr lvl="0"/>
            <a:r>
              <a:rPr lang="en-US" dirty="0"/>
              <a:t>Click to insert text</a:t>
            </a:r>
          </a:p>
        </p:txBody>
      </p:sp>
      <p:sp>
        <p:nvSpPr>
          <p:cNvPr id="38" name="Text Placeholder 36">
            <a:extLst>
              <a:ext uri="{FF2B5EF4-FFF2-40B4-BE49-F238E27FC236}">
                <a16:creationId xmlns="" xmlns:a16="http://schemas.microsoft.com/office/drawing/2014/main" id="{914F5F94-C619-4353-985D-517B9A1ED51A}"/>
              </a:ext>
            </a:extLst>
          </p:cNvPr>
          <p:cNvSpPr>
            <a:spLocks noGrp="1"/>
          </p:cNvSpPr>
          <p:nvPr>
            <p:ph type="body" sz="quarter" idx="17" hasCustomPrompt="1"/>
          </p:nvPr>
        </p:nvSpPr>
        <p:spPr>
          <a:xfrm>
            <a:off x="4740366" y="4919316"/>
            <a:ext cx="2736137" cy="935037"/>
          </a:xfrm>
          <a:prstGeom prst="rect">
            <a:avLst/>
          </a:prstGeom>
        </p:spPr>
        <p:txBody>
          <a:bodyPr>
            <a:normAutofit/>
          </a:bodyPr>
          <a:lstStyle>
            <a:lvl1pPr>
              <a:defRPr sz="1400"/>
            </a:lvl1pPr>
          </a:lstStyle>
          <a:p>
            <a:pPr lvl="0"/>
            <a:r>
              <a:rPr lang="en-US" dirty="0"/>
              <a:t>Click to insert text</a:t>
            </a:r>
          </a:p>
        </p:txBody>
      </p:sp>
      <p:sp>
        <p:nvSpPr>
          <p:cNvPr id="39" name="Text Placeholder 36">
            <a:extLst>
              <a:ext uri="{FF2B5EF4-FFF2-40B4-BE49-F238E27FC236}">
                <a16:creationId xmlns="" xmlns:a16="http://schemas.microsoft.com/office/drawing/2014/main" id="{43904984-B2AA-40BC-977A-39D263DD919B}"/>
              </a:ext>
            </a:extLst>
          </p:cNvPr>
          <p:cNvSpPr>
            <a:spLocks noGrp="1"/>
          </p:cNvSpPr>
          <p:nvPr>
            <p:ph type="body" sz="quarter" idx="18" hasCustomPrompt="1"/>
          </p:nvPr>
        </p:nvSpPr>
        <p:spPr>
          <a:xfrm>
            <a:off x="1138145" y="4919316"/>
            <a:ext cx="2736137" cy="935037"/>
          </a:xfrm>
          <a:prstGeom prst="rect">
            <a:avLst/>
          </a:prstGeom>
        </p:spPr>
        <p:txBody>
          <a:bodyPr>
            <a:normAutofit/>
          </a:bodyPr>
          <a:lstStyle>
            <a:lvl1pPr>
              <a:defRPr sz="1400"/>
            </a:lvl1pPr>
          </a:lstStyle>
          <a:p>
            <a:pPr lvl="0"/>
            <a:r>
              <a:rPr lang="en-US" dirty="0"/>
              <a:t>Click to insert text</a:t>
            </a:r>
          </a:p>
        </p:txBody>
      </p:sp>
      <p:sp>
        <p:nvSpPr>
          <p:cNvPr id="1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407882" y="404813"/>
            <a:ext cx="11013735" cy="863600"/>
          </a:xfrm>
          <a:prstGeom prst="rect">
            <a:avLst/>
          </a:prstGeom>
        </p:spPr>
        <p:txBody>
          <a:bodyPr vert="horz" lIns="0" tIns="0" rIns="0" bIns="0" rtlCol="0" anchor="t">
            <a:normAutofit/>
          </a:bodyPr>
          <a:lstStyle>
            <a:lvl1pPr>
              <a:defRPr lang="pt-PT" dirty="0"/>
            </a:lvl1pPr>
          </a:lstStyle>
          <a:p>
            <a:pPr lvl="0">
              <a:lnSpc>
                <a:spcPts val="2999"/>
              </a:lnSpc>
            </a:pPr>
            <a:r>
              <a:rPr lang="en-US" dirty="0"/>
              <a:t>Click to add title</a:t>
            </a:r>
            <a:endParaRPr lang="pt-PT" dirty="0"/>
          </a:p>
        </p:txBody>
      </p:sp>
      <p:sp>
        <p:nvSpPr>
          <p:cNvPr id="19" name="Retângulo 43">
            <a:extLst>
              <a:ext uri="{FF2B5EF4-FFF2-40B4-BE49-F238E27FC236}">
                <a16:creationId xmlns="" xmlns:a16="http://schemas.microsoft.com/office/drawing/2014/main" id="{25FC8637-25BD-4C09-AF25-56B4243DAB3D}"/>
              </a:ext>
            </a:extLst>
          </p:cNvPr>
          <p:cNvSpPr/>
          <p:nvPr userDrawn="1"/>
        </p:nvSpPr>
        <p:spPr>
          <a:xfrm>
            <a:off x="11662354" y="6555758"/>
            <a:ext cx="360903" cy="215444"/>
          </a:xfrm>
          <a:prstGeom prst="rect">
            <a:avLst/>
          </a:prstGeom>
        </p:spPr>
        <p:txBody>
          <a:bodyPr wrap="none">
            <a:spAutoFit/>
          </a:bodyPr>
          <a:lstStyle/>
          <a:p>
            <a:pPr algn="r" defTabSz="914126"/>
            <a:fld id="{0502E5A9-B53C-401E-A0E0-4A359BB0A9E5}" type="slidenum">
              <a:rPr lang="en-US" sz="800" smtClean="0">
                <a:solidFill>
                  <a:prstClr val="black">
                    <a:lumMod val="50000"/>
                    <a:lumOff val="50000"/>
                  </a:prstClr>
                </a:solidFill>
                <a:cs typeface="Arial" panose="020B0604020202020204" pitchFamily="34" charset="0"/>
              </a:rPr>
              <a:pPr algn="r" defTabSz="914126"/>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2819"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882" y="6555971"/>
            <a:ext cx="2828270" cy="219456"/>
          </a:xfrm>
          <a:prstGeom prst="rect">
            <a:avLst/>
          </a:prstGeom>
        </p:spPr>
        <p:txBody>
          <a:bodyPr wrap="square" lIns="0" tIns="0" rIns="0" bIns="0" anchor="ctr" anchorCtr="0">
            <a:noAutofit/>
          </a:bodyPr>
          <a:lstStyle/>
          <a:p>
            <a:pPr defTabSz="914126">
              <a:lnSpc>
                <a:spcPct val="85000"/>
              </a:lnSpc>
              <a:defRPr/>
            </a:pPr>
            <a:r>
              <a:rPr lang="en-US" sz="800" kern="0" dirty="0" smtClean="0">
                <a:solidFill>
                  <a:srgbClr val="00458D"/>
                </a:solidFill>
                <a:cs typeface="Arial" panose="020B0604020202020204" pitchFamily="34" charset="0"/>
              </a:rPr>
              <a:t>Presentation Title | Author | Date</a:t>
            </a:r>
            <a:endParaRPr lang="en-US" sz="800" kern="0" dirty="0">
              <a:solidFill>
                <a:srgbClr val="00458D"/>
              </a:solidFill>
              <a:cs typeface="Arial" panose="020B0604020202020204" pitchFamily="34" charset="0"/>
            </a:endParaRP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0491" y="6555758"/>
            <a:ext cx="2223107" cy="219456"/>
          </a:xfrm>
          <a:prstGeom prst="rect">
            <a:avLst/>
          </a:prstGeom>
        </p:spPr>
        <p:txBody>
          <a:bodyPr wrap="none" lIns="0" tIns="0" rIns="0" bIns="0" anchor="ctr">
            <a:noAutofit/>
          </a:bodyPr>
          <a:lstStyle/>
          <a:p>
            <a:pPr defTabSz="914126"/>
            <a:r>
              <a:rPr lang="en-US" sz="800" dirty="0">
                <a:solidFill>
                  <a:srgbClr val="E6E7E7">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95511906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Click to edit Master title style</a:t>
            </a:r>
          </a:p>
        </p:txBody>
      </p:sp>
      <p:sp>
        <p:nvSpPr>
          <p:cNvPr id="6" name="Date Placeholder 5"/>
          <p:cNvSpPr>
            <a:spLocks noGrp="1"/>
          </p:cNvSpPr>
          <p:nvPr>
            <p:ph type="dt" sz="half" idx="14"/>
          </p:nvPr>
        </p:nvSpPr>
        <p:spPr>
          <a:xfrm>
            <a:off x="407881" y="6555971"/>
            <a:ext cx="3311138" cy="219456"/>
          </a:xfrm>
        </p:spPr>
        <p:txBody>
          <a:bodyPr/>
          <a:lstStyle/>
          <a:p>
            <a:pPr>
              <a:lnSpc>
                <a:spcPct val="85000"/>
              </a:lnSpc>
            </a:pPr>
            <a:r>
              <a:rPr lang="en-US" dirty="0">
                <a:solidFill>
                  <a:srgbClr val="0070AD"/>
                </a:solidFill>
              </a:rPr>
              <a:t>Group IT Project Charter Template v14.1 | 01/05/2018</a:t>
            </a:r>
          </a:p>
        </p:txBody>
      </p:sp>
      <p:sp>
        <p:nvSpPr>
          <p:cNvPr id="8" name="Footer Placeholder 7"/>
          <p:cNvSpPr>
            <a:spLocks noGrp="1"/>
          </p:cNvSpPr>
          <p:nvPr>
            <p:ph type="ftr" sz="quarter" idx="15"/>
          </p:nvPr>
        </p:nvSpPr>
        <p:spPr/>
        <p:txBody>
          <a:bodyPr/>
          <a:lstStyle/>
          <a:p>
            <a:r>
              <a:rPr lang="en-US" dirty="0">
                <a:solidFill>
                  <a:srgbClr val="E6E7E7">
                    <a:lumMod val="50000"/>
                  </a:srgbClr>
                </a:solidFill>
              </a:rPr>
              <a:t>© 2018 Capgemini. All rights reserved.</a:t>
            </a:r>
          </a:p>
        </p:txBody>
      </p:sp>
      <p:sp>
        <p:nvSpPr>
          <p:cNvPr id="9" name="Slide Number Placeholder 8"/>
          <p:cNvSpPr>
            <a:spLocks noGrp="1"/>
          </p:cNvSpPr>
          <p:nvPr>
            <p:ph type="sldNum" sz="quarter" idx="16"/>
          </p:nvPr>
        </p:nvSpPr>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sp>
        <p:nvSpPr>
          <p:cNvPr id="4" name="Espace réservé du texte 3">
            <a:extLst>
              <a:ext uri="{FF2B5EF4-FFF2-40B4-BE49-F238E27FC236}">
                <a16:creationId xmlns:a16="http://schemas.microsoft.com/office/drawing/2014/main" xmlns="" id="{41B7B491-07D0-41D9-B3E6-A2FDFD6C7B89}"/>
              </a:ext>
            </a:extLst>
          </p:cNvPr>
          <p:cNvSpPr>
            <a:spLocks noGrp="1"/>
          </p:cNvSpPr>
          <p:nvPr>
            <p:ph type="body" sz="quarter" idx="17" hasCustomPrompt="1"/>
          </p:nvPr>
        </p:nvSpPr>
        <p:spPr>
          <a:xfrm>
            <a:off x="407882" y="1412876"/>
            <a:ext cx="11014381" cy="4968875"/>
          </a:xfrm>
        </p:spPr>
        <p:txBody>
          <a:bodyPr/>
          <a:lstStyle>
            <a:lvl1pPr marL="0" marR="0" indent="0" algn="l" defTabSz="914126" rtl="0" eaLnBrk="1" fontAlgn="auto" latinLnBrk="0" hangingPunct="1">
              <a:lnSpc>
                <a:spcPct val="100000"/>
              </a:lnSpc>
              <a:spcBef>
                <a:spcPts val="600"/>
              </a:spcBef>
              <a:spcAft>
                <a:spcPts val="0"/>
              </a:spcAft>
              <a:buClrTx/>
              <a:buSzTx/>
              <a:buFont typeface="Arial" panose="020B0604020202020204" pitchFamily="34" charset="0"/>
              <a:buNone/>
              <a:tabLst/>
              <a:defRPr/>
            </a:lvl1pPr>
            <a:lvl2pPr>
              <a:defRPr/>
            </a:lvl2pPr>
            <a:lvl3pPr>
              <a:defRPr/>
            </a:lvl3pPr>
            <a:lvl4pPr>
              <a:defRPr/>
            </a:lvl4pPr>
            <a:lvl5pPr>
              <a:defRPr/>
            </a:lvl5pPr>
          </a:lstStyle>
          <a:p>
            <a:pPr marL="0" marR="0" lvl="0" indent="0" algn="l" defTabSz="914126"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noProof="0"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98853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a:t>Click to edit Master title style</a:t>
            </a:r>
          </a:p>
        </p:txBody>
      </p:sp>
      <p:sp>
        <p:nvSpPr>
          <p:cNvPr id="8" name="Text Placeholder 7"/>
          <p:cNvSpPr>
            <a:spLocks noGrp="1"/>
          </p:cNvSpPr>
          <p:nvPr>
            <p:ph type="body" sz="quarter" idx="14" hasCustomPrompt="1"/>
          </p:nvPr>
        </p:nvSpPr>
        <p:spPr>
          <a:xfrm>
            <a:off x="407882" y="980661"/>
            <a:ext cx="11373062" cy="307777"/>
          </a:xfrm>
        </p:spPr>
        <p:txBody>
          <a:bodyPr>
            <a:spAutoFit/>
          </a:bodyPr>
          <a:lstStyle>
            <a:lvl1pPr>
              <a:defRPr>
                <a:solidFill>
                  <a:schemeClr val="accent2"/>
                </a:solidFill>
              </a:defRPr>
            </a:lvl1pPr>
          </a:lstStyle>
          <a:p>
            <a:pPr lvl="0"/>
            <a:r>
              <a:rPr lang="en-US" noProof="0"/>
              <a:t>Click to edit Master text styles</a:t>
            </a:r>
          </a:p>
        </p:txBody>
      </p:sp>
      <p:sp>
        <p:nvSpPr>
          <p:cNvPr id="6" name="Date Placeholder 5"/>
          <p:cNvSpPr>
            <a:spLocks noGrp="1"/>
          </p:cNvSpPr>
          <p:nvPr>
            <p:ph type="dt" sz="half" idx="15"/>
          </p:nvPr>
        </p:nvSpPr>
        <p:spPr/>
        <p:txBody>
          <a:bodyPr/>
          <a:lstStyle/>
          <a:p>
            <a:pPr>
              <a:lnSpc>
                <a:spcPct val="85000"/>
              </a:lnSpc>
            </a:pPr>
            <a:r>
              <a:rPr lang="en-US" dirty="0">
                <a:solidFill>
                  <a:srgbClr val="0070AD"/>
                </a:solidFill>
              </a:rPr>
              <a:t>Group IT Project Charter Template v14.1 | 01/05/2018</a:t>
            </a:r>
          </a:p>
        </p:txBody>
      </p:sp>
      <p:sp>
        <p:nvSpPr>
          <p:cNvPr id="7" name="Footer Placeholder 6"/>
          <p:cNvSpPr>
            <a:spLocks noGrp="1"/>
          </p:cNvSpPr>
          <p:nvPr>
            <p:ph type="ftr" sz="quarter" idx="16"/>
          </p:nvPr>
        </p:nvSpPr>
        <p:spPr/>
        <p:txBody>
          <a:bodyPr/>
          <a:lstStyle/>
          <a:p>
            <a:r>
              <a:rPr lang="en-US" dirty="0">
                <a:solidFill>
                  <a:srgbClr val="E6E7E7">
                    <a:lumMod val="50000"/>
                  </a:srgbClr>
                </a:solidFill>
              </a:rPr>
              <a:t>© 2018 Capgemini. All rights reserved.</a:t>
            </a:r>
          </a:p>
        </p:txBody>
      </p:sp>
      <p:sp>
        <p:nvSpPr>
          <p:cNvPr id="9" name="Slide Number Placeholder 8"/>
          <p:cNvSpPr>
            <a:spLocks noGrp="1"/>
          </p:cNvSpPr>
          <p:nvPr>
            <p:ph type="sldNum" sz="quarter" idx="17"/>
          </p:nvPr>
        </p:nvSpPr>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sp>
        <p:nvSpPr>
          <p:cNvPr id="10" name="Text Placeholder 2">
            <a:extLst>
              <a:ext uri="{FF2B5EF4-FFF2-40B4-BE49-F238E27FC236}">
                <a16:creationId xmlns:a16="http://schemas.microsoft.com/office/drawing/2014/main" xmlns="" id="{D6967EC6-D3C6-4E5F-932A-BF3C73E3112C}"/>
              </a:ext>
            </a:extLst>
          </p:cNvPr>
          <p:cNvSpPr>
            <a:spLocks noGrp="1"/>
          </p:cNvSpPr>
          <p:nvPr>
            <p:ph idx="1" hasCustomPrompt="1"/>
          </p:nvPr>
        </p:nvSpPr>
        <p:spPr>
          <a:xfrm>
            <a:off x="412960" y="1556740"/>
            <a:ext cx="11367984" cy="4896448"/>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8839211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7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noProof="0"/>
              <a:t>Click to edit Master title style</a:t>
            </a:r>
          </a:p>
        </p:txBody>
      </p:sp>
      <p:sp>
        <p:nvSpPr>
          <p:cNvPr id="10" name="Date Placeholder 9"/>
          <p:cNvSpPr>
            <a:spLocks noGrp="1"/>
          </p:cNvSpPr>
          <p:nvPr>
            <p:ph type="dt" sz="half" idx="10"/>
          </p:nvPr>
        </p:nvSpPr>
        <p:spPr/>
        <p:txBody>
          <a:bodyPr/>
          <a:lstStyle/>
          <a:p>
            <a:pPr>
              <a:lnSpc>
                <a:spcPct val="85000"/>
              </a:lnSpc>
            </a:pPr>
            <a:r>
              <a:rPr lang="en-US" dirty="0" smtClean="0">
                <a:solidFill>
                  <a:srgbClr val="0070AD"/>
                </a:solidFill>
              </a:rPr>
              <a:t>Group IT Testing Dashboard</a:t>
            </a:r>
            <a:endParaRPr lang="en-US" dirty="0">
              <a:solidFill>
                <a:srgbClr val="0070AD"/>
              </a:solidFill>
            </a:endParaRPr>
          </a:p>
        </p:txBody>
      </p:sp>
      <p:sp>
        <p:nvSpPr>
          <p:cNvPr id="11" name="Footer Placeholder 10"/>
          <p:cNvSpPr>
            <a:spLocks noGrp="1"/>
          </p:cNvSpPr>
          <p:nvPr>
            <p:ph type="ftr" sz="quarter" idx="11"/>
          </p:nvPr>
        </p:nvSpPr>
        <p:spPr/>
        <p:txBody>
          <a:bodyPr/>
          <a:lstStyle/>
          <a:p>
            <a:r>
              <a:rPr lang="en-US" dirty="0">
                <a:solidFill>
                  <a:srgbClr val="E6E7E7">
                    <a:lumMod val="50000"/>
                  </a:srgbClr>
                </a:solidFill>
              </a:rPr>
              <a:t>© 2018 Capgemini. All rights reserved.</a:t>
            </a:r>
          </a:p>
        </p:txBody>
      </p:sp>
      <p:sp>
        <p:nvSpPr>
          <p:cNvPr id="12" name="Slide Number Placeholder 11"/>
          <p:cNvSpPr>
            <a:spLocks noGrp="1"/>
          </p:cNvSpPr>
          <p:nvPr>
            <p:ph type="sldNum" sz="quarter" idx="12"/>
          </p:nvPr>
        </p:nvSpPr>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spTree>
    <p:extLst>
      <p:ext uri="{BB962C8B-B14F-4D97-AF65-F5344CB8AC3E}">
        <p14:creationId xmlns:p14="http://schemas.microsoft.com/office/powerpoint/2010/main" val="27018936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881" y="1932114"/>
            <a:ext cx="5542107" cy="4521074"/>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38840" y="1932114"/>
            <a:ext cx="5515007" cy="4519865"/>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881" y="1420990"/>
            <a:ext cx="5542107" cy="360000"/>
          </a:xfrm>
          <a:prstGeom prst="rect">
            <a:avLst/>
          </a:prstGeom>
        </p:spPr>
        <p:txBody>
          <a:bodyPr>
            <a:noAutofit/>
          </a:bodyPr>
          <a:lstStyle>
            <a:lvl1pPr>
              <a:lnSpc>
                <a:spcPts val="2199"/>
              </a:lnSpc>
              <a:defRPr sz="1799"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38840" y="1420990"/>
            <a:ext cx="5515007" cy="360000"/>
          </a:xfrm>
          <a:prstGeom prst="rect">
            <a:avLst/>
          </a:prstGeom>
        </p:spPr>
        <p:txBody>
          <a:bodyPr>
            <a:noAutofit/>
          </a:bodyPr>
          <a:lstStyle>
            <a:lvl1pPr>
              <a:lnSpc>
                <a:spcPts val="2199"/>
              </a:lnSpc>
              <a:defRPr sz="1799"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882" y="44530"/>
            <a:ext cx="10941746" cy="865054"/>
          </a:xfrm>
          <a:prstGeom prst="rect">
            <a:avLst/>
          </a:prstGeom>
        </p:spPr>
        <p:txBody>
          <a:bodyPr vert="horz" lIns="0" tIns="0" rIns="0" bIns="0" rtlCol="0" anchor="t">
            <a:normAutofit/>
          </a:bodyPr>
          <a:lstStyle>
            <a:lvl1pPr>
              <a:defRPr lang="pt-PT" dirty="0">
                <a:solidFill>
                  <a:schemeClr val="accent1"/>
                </a:solidFill>
              </a:defRPr>
            </a:lvl1pPr>
          </a:lstStyle>
          <a:p>
            <a:pPr lvl="0">
              <a:lnSpc>
                <a:spcPts val="2999"/>
              </a:lnSpc>
            </a:pPr>
            <a:r>
              <a:rPr lang="en-US" dirty="0"/>
              <a:t>Click to insert title</a:t>
            </a:r>
            <a:endParaRPr lang="pt-PT" dirty="0"/>
          </a:p>
        </p:txBody>
      </p:sp>
      <p:sp>
        <p:nvSpPr>
          <p:cNvPr id="5" name="Date Placeholder 4"/>
          <p:cNvSpPr>
            <a:spLocks noGrp="1"/>
          </p:cNvSpPr>
          <p:nvPr>
            <p:ph type="dt" sz="half" idx="14"/>
          </p:nvPr>
        </p:nvSpPr>
        <p:spPr/>
        <p:txBody>
          <a:bodyPr/>
          <a:lstStyle/>
          <a:p>
            <a:pPr>
              <a:lnSpc>
                <a:spcPct val="85000"/>
              </a:lnSpc>
            </a:pPr>
            <a:r>
              <a:rPr lang="en-US" dirty="0">
                <a:solidFill>
                  <a:srgbClr val="0070AD"/>
                </a:solidFill>
              </a:rPr>
              <a:t>Group IT Project Charter Template v14.1 | 01/05/2018</a:t>
            </a:r>
          </a:p>
        </p:txBody>
      </p:sp>
      <p:sp>
        <p:nvSpPr>
          <p:cNvPr id="6" name="Footer Placeholder 5"/>
          <p:cNvSpPr>
            <a:spLocks noGrp="1"/>
          </p:cNvSpPr>
          <p:nvPr>
            <p:ph type="ftr" sz="quarter" idx="15"/>
          </p:nvPr>
        </p:nvSpPr>
        <p:spPr/>
        <p:txBody>
          <a:bodyPr/>
          <a:lstStyle/>
          <a:p>
            <a:r>
              <a:rPr lang="en-US" dirty="0">
                <a:solidFill>
                  <a:srgbClr val="E6E7E7">
                    <a:lumMod val="50000"/>
                  </a:srgbClr>
                </a:solidFill>
              </a:rPr>
              <a:t>© 2018 Capgemini. All rights reserved.</a:t>
            </a:r>
          </a:p>
        </p:txBody>
      </p:sp>
      <p:sp>
        <p:nvSpPr>
          <p:cNvPr id="7" name="Slide Number Placeholder 6"/>
          <p:cNvSpPr>
            <a:spLocks noGrp="1"/>
          </p:cNvSpPr>
          <p:nvPr>
            <p:ph type="sldNum" sz="quarter" idx="16"/>
          </p:nvPr>
        </p:nvSpPr>
        <p:spPr/>
        <p:txBody>
          <a:body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spTree>
    <p:extLst>
      <p:ext uri="{BB962C8B-B14F-4D97-AF65-F5344CB8AC3E}">
        <p14:creationId xmlns:p14="http://schemas.microsoft.com/office/powerpoint/2010/main" val="6454082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ctr"/>
          <a:lstStyle>
            <a:lvl1pPr>
              <a:defRPr/>
            </a:lvl1pPr>
          </a:lstStyle>
          <a:p>
            <a:r>
              <a:rPr lang="en-US" noProof="0" dirty="0"/>
              <a:t>Click to edit Title</a:t>
            </a:r>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227291" y="2205319"/>
            <a:ext cx="3536906"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noProof="0" dirty="0"/>
              <a:t>Edit text</a:t>
            </a:r>
          </a:p>
          <a:p>
            <a:pPr lvl="1"/>
            <a:r>
              <a:rPr lang="en-US" noProof="0" dirty="0"/>
              <a:t>Edit text</a:t>
            </a:r>
          </a:p>
          <a:p>
            <a:pPr lvl="2"/>
            <a:r>
              <a:rPr lang="en-US" noProof="0" dirty="0"/>
              <a:t>Edit text</a:t>
            </a:r>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291" y="1420990"/>
            <a:ext cx="3536906"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126" rtl="0" eaLnBrk="1" latinLnBrk="0" hangingPunct="1">
              <a:lnSpc>
                <a:spcPct val="100000"/>
              </a:lnSpc>
              <a:spcBef>
                <a:spcPts val="1000"/>
              </a:spcBef>
              <a:buFont typeface="Arial" panose="020B0604020202020204" pitchFamily="34" charset="0"/>
              <a:buNone/>
            </a:pPr>
            <a:r>
              <a:rPr lang="en-US" noProof="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hasCustomPrompt="1"/>
          </p:nvPr>
        </p:nvSpPr>
        <p:spPr>
          <a:xfrm>
            <a:off x="4312235" y="2205319"/>
            <a:ext cx="3536906"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noProof="0" dirty="0"/>
              <a:t>Edit text</a:t>
            </a:r>
          </a:p>
          <a:p>
            <a:pPr lvl="1"/>
            <a:r>
              <a:rPr lang="en-US" noProof="0" dirty="0"/>
              <a:t>Edit text</a:t>
            </a:r>
          </a:p>
          <a:p>
            <a:pPr lvl="2"/>
            <a:r>
              <a:rPr lang="en-US" noProof="0" dirty="0"/>
              <a:t>Edit text</a:t>
            </a:r>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2235" y="1420990"/>
            <a:ext cx="3536906"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126" rtl="0" eaLnBrk="1" latinLnBrk="0" hangingPunct="1">
              <a:lnSpc>
                <a:spcPct val="100000"/>
              </a:lnSpc>
              <a:spcBef>
                <a:spcPts val="1000"/>
              </a:spcBef>
              <a:buFont typeface="Arial" panose="020B0604020202020204" pitchFamily="34" charset="0"/>
              <a:buNone/>
            </a:pPr>
            <a:r>
              <a:rPr lang="en-US" noProof="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hasCustomPrompt="1"/>
          </p:nvPr>
        </p:nvSpPr>
        <p:spPr>
          <a:xfrm>
            <a:off x="8381942" y="2205319"/>
            <a:ext cx="3536906"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noProof="0" dirty="0"/>
              <a:t>Edit text</a:t>
            </a:r>
          </a:p>
          <a:p>
            <a:pPr lvl="1"/>
            <a:r>
              <a:rPr lang="en-US" noProof="0" dirty="0"/>
              <a:t>Edit text</a:t>
            </a:r>
          </a:p>
          <a:p>
            <a:pPr lvl="2"/>
            <a:r>
              <a:rPr lang="en-US" noProof="0" dirty="0"/>
              <a:t>Edit text</a:t>
            </a:r>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1942" y="1420990"/>
            <a:ext cx="3536906"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126" rtl="0" eaLnBrk="1" latinLnBrk="0" hangingPunct="1">
              <a:lnSpc>
                <a:spcPct val="100000"/>
              </a:lnSpc>
              <a:spcBef>
                <a:spcPts val="1000"/>
              </a:spcBef>
              <a:buFont typeface="Arial" panose="020B0604020202020204" pitchFamily="34" charset="0"/>
              <a:buNone/>
            </a:pPr>
            <a:r>
              <a:rPr lang="en-US" noProof="0"/>
              <a:t>Click to insert title</a:t>
            </a:r>
          </a:p>
        </p:txBody>
      </p:sp>
      <p:sp>
        <p:nvSpPr>
          <p:cNvPr id="13" name="Date Placeholder 2">
            <a:extLst>
              <a:ext uri="{FF2B5EF4-FFF2-40B4-BE49-F238E27FC236}">
                <a16:creationId xmlns:a16="http://schemas.microsoft.com/office/drawing/2014/main" xmlns="" id="{9E9735CD-9A50-4BB2-AE45-691807115B01}"/>
              </a:ext>
            </a:extLst>
          </p:cNvPr>
          <p:cNvSpPr>
            <a:spLocks noGrp="1"/>
          </p:cNvSpPr>
          <p:nvPr>
            <p:ph type="dt" sz="half" idx="2"/>
          </p:nvPr>
        </p:nvSpPr>
        <p:spPr>
          <a:xfrm>
            <a:off x="407882" y="6555971"/>
            <a:ext cx="2828270" cy="219456"/>
          </a:xfrm>
          <a:prstGeom prst="rect">
            <a:avLst/>
          </a:prstGeom>
        </p:spPr>
        <p:txBody>
          <a:bodyPr wrap="square" lIns="0" tIns="0" rIns="0" bIns="0" anchor="ctr" anchorCtr="0">
            <a:noAutofit/>
          </a:bodyPr>
          <a:lstStyle>
            <a:lvl1pPr>
              <a:defRPr lang="de-DE" sz="800" kern="0" smtClean="0">
                <a:solidFill>
                  <a:schemeClr val="accent1"/>
                </a:solidFill>
                <a:latin typeface="+mj-lt"/>
                <a:cs typeface="Arial" panose="020B0604020202020204" pitchFamily="34" charset="0"/>
              </a:defRPr>
            </a:lvl1pPr>
          </a:lstStyle>
          <a:p>
            <a:pPr>
              <a:lnSpc>
                <a:spcPct val="85000"/>
              </a:lnSpc>
            </a:pPr>
            <a:r>
              <a:rPr lang="en-US" dirty="0">
                <a:solidFill>
                  <a:srgbClr val="0070AD"/>
                </a:solidFill>
              </a:rPr>
              <a:t>Group IT Project Charter Template v14.1 | 01/05/2018</a:t>
            </a:r>
          </a:p>
        </p:txBody>
      </p:sp>
      <p:sp>
        <p:nvSpPr>
          <p:cNvPr id="14" name="Footer Placeholder 3">
            <a:extLst>
              <a:ext uri="{FF2B5EF4-FFF2-40B4-BE49-F238E27FC236}">
                <a16:creationId xmlns:a16="http://schemas.microsoft.com/office/drawing/2014/main" xmlns="" id="{19FA2306-92E9-439B-B368-D591BB8DA5DC}"/>
              </a:ext>
            </a:extLst>
          </p:cNvPr>
          <p:cNvSpPr>
            <a:spLocks noGrp="1"/>
          </p:cNvSpPr>
          <p:nvPr>
            <p:ph type="ftr" sz="quarter" idx="3"/>
          </p:nvPr>
        </p:nvSpPr>
        <p:spPr>
          <a:xfrm>
            <a:off x="9321679" y="6555758"/>
            <a:ext cx="2223107"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dirty="0">
                <a:solidFill>
                  <a:srgbClr val="E6E7E7">
                    <a:lumMod val="50000"/>
                  </a:srgbClr>
                </a:solidFill>
              </a:rPr>
              <a:t>© 2018 Capgemini. All rights reserved.</a:t>
            </a:r>
          </a:p>
        </p:txBody>
      </p:sp>
      <p:sp>
        <p:nvSpPr>
          <p:cNvPr id="15" name="Slide Number Placeholder 28">
            <a:extLst>
              <a:ext uri="{FF2B5EF4-FFF2-40B4-BE49-F238E27FC236}">
                <a16:creationId xmlns:a16="http://schemas.microsoft.com/office/drawing/2014/main" xmlns="" id="{841B1608-8E7D-4981-9A30-F8B02800C563}"/>
              </a:ext>
            </a:extLst>
          </p:cNvPr>
          <p:cNvSpPr>
            <a:spLocks noGrp="1"/>
          </p:cNvSpPr>
          <p:nvPr>
            <p:ph type="sldNum" sz="quarter" idx="4"/>
          </p:nvPr>
        </p:nvSpPr>
        <p:spPr>
          <a:xfrm>
            <a:off x="11780944" y="6555758"/>
            <a:ext cx="123722"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pic>
        <p:nvPicPr>
          <p:cNvPr id="17" name="Image 16">
            <a:extLst>
              <a:ext uri="{FF2B5EF4-FFF2-40B4-BE49-F238E27FC236}">
                <a16:creationId xmlns:a16="http://schemas.microsoft.com/office/drawing/2014/main" xmlns="" id="{232F3F48-A829-4C40-9419-529436CD98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404668" y="6591202"/>
            <a:ext cx="701815" cy="180000"/>
          </a:xfrm>
          <a:prstGeom prst="rect">
            <a:avLst/>
          </a:prstGeom>
        </p:spPr>
      </p:pic>
    </p:spTree>
    <p:extLst>
      <p:ext uri="{BB962C8B-B14F-4D97-AF65-F5344CB8AC3E}">
        <p14:creationId xmlns:p14="http://schemas.microsoft.com/office/powerpoint/2010/main" val="214301555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177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1"/>
            <a:ext cx="91975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srgbClr val="FFFFFF"/>
              </a:solidFill>
            </a:endParaRPr>
          </a:p>
        </p:txBody>
      </p:sp>
      <p:sp>
        <p:nvSpPr>
          <p:cNvPr id="21510" name="Freeform 6"/>
          <p:cNvSpPr>
            <a:spLocks/>
          </p:cNvSpPr>
          <p:nvPr userDrawn="1"/>
        </p:nvSpPr>
        <p:spPr bwMode="auto">
          <a:xfrm>
            <a:off x="0" y="0"/>
            <a:ext cx="91975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5"/>
          </a:solidFill>
          <a:ln w="9525">
            <a:noFill/>
            <a:round/>
            <a:headEnd/>
            <a:tailEnd/>
          </a:ln>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endParaRPr>
          </a:p>
        </p:txBody>
      </p:sp>
      <p:sp>
        <p:nvSpPr>
          <p:cNvPr id="2" name="Title 1"/>
          <p:cNvSpPr>
            <a:spLocks noGrp="1"/>
          </p:cNvSpPr>
          <p:nvPr>
            <p:ph type="title" hasCustomPrompt="1"/>
          </p:nvPr>
        </p:nvSpPr>
        <p:spPr>
          <a:xfrm>
            <a:off x="974619" y="0"/>
            <a:ext cx="10375008" cy="1104900"/>
          </a:xfrm>
        </p:spPr>
        <p:txBody>
          <a:bodyPr anchor="ctr"/>
          <a:lstStyle>
            <a:lvl1pPr>
              <a:defRPr/>
            </a:lvl1pPr>
          </a:lstStyle>
          <a:p>
            <a:r>
              <a:rPr lang="en-US" noProof="0" dirty="0"/>
              <a:t>Click to edit title</a:t>
            </a:r>
          </a:p>
        </p:txBody>
      </p:sp>
      <p:sp>
        <p:nvSpPr>
          <p:cNvPr id="5" name="Espace réservé du texte 4"/>
          <p:cNvSpPr>
            <a:spLocks noGrp="1"/>
          </p:cNvSpPr>
          <p:nvPr>
            <p:ph type="body" sz="quarter" idx="11" hasCustomPrompt="1"/>
          </p:nvPr>
        </p:nvSpPr>
        <p:spPr>
          <a:xfrm>
            <a:off x="974619" y="1148607"/>
            <a:ext cx="10938054" cy="504056"/>
          </a:xfrm>
          <a:prstGeom prst="rect">
            <a:avLst/>
          </a:prstGeom>
        </p:spPr>
        <p:txBody>
          <a:bodyPr/>
          <a:lstStyle>
            <a:lvl1pPr>
              <a:defRPr>
                <a:solidFill>
                  <a:schemeClr val="accent2"/>
                </a:solidFill>
              </a:defRPr>
            </a:lvl1pPr>
          </a:lstStyle>
          <a:p>
            <a:pPr lvl="0"/>
            <a:r>
              <a:rPr lang="en-US" noProof="0"/>
              <a:t>Click to edit Master subtitle styles</a:t>
            </a:r>
          </a:p>
        </p:txBody>
      </p:sp>
      <p:sp>
        <p:nvSpPr>
          <p:cNvPr id="17" name="Text Placeholder 16"/>
          <p:cNvSpPr>
            <a:spLocks noGrp="1"/>
          </p:cNvSpPr>
          <p:nvPr>
            <p:ph type="body" sz="quarter" idx="12" hasCustomPrompt="1"/>
          </p:nvPr>
        </p:nvSpPr>
        <p:spPr>
          <a:xfrm>
            <a:off x="0" y="48742"/>
            <a:ext cx="914162" cy="914400"/>
          </a:xfrm>
        </p:spPr>
        <p:txBody>
          <a:bodyPr anchor="ctr">
            <a:normAutofit/>
          </a:bodyPr>
          <a:lstStyle>
            <a:lvl1pPr marL="0" indent="0" algn="ctr" defTabSz="914126" rtl="0" eaLnBrk="1" latinLnBrk="0" hangingPunct="1">
              <a:lnSpc>
                <a:spcPct val="90000"/>
              </a:lnSpc>
              <a:spcBef>
                <a:spcPts val="1000"/>
              </a:spcBef>
              <a:buFont typeface="Arial" panose="020B0604020202020204" pitchFamily="34" charset="0"/>
              <a:buNone/>
              <a:defRPr lang="en-GB" sz="3999" kern="1200" dirty="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a:t>#</a:t>
            </a:r>
          </a:p>
        </p:txBody>
      </p:sp>
      <p:sp>
        <p:nvSpPr>
          <p:cNvPr id="9" name="Text Placeholder 2">
            <a:extLst>
              <a:ext uri="{FF2B5EF4-FFF2-40B4-BE49-F238E27FC236}">
                <a16:creationId xmlns:a16="http://schemas.microsoft.com/office/drawing/2014/main" xmlns="" id="{7687075D-0D2B-48C9-A5E3-EC921C4B6B62}"/>
              </a:ext>
            </a:extLst>
          </p:cNvPr>
          <p:cNvSpPr>
            <a:spLocks noGrp="1"/>
          </p:cNvSpPr>
          <p:nvPr>
            <p:ph idx="1"/>
          </p:nvPr>
        </p:nvSpPr>
        <p:spPr>
          <a:xfrm>
            <a:off x="412960" y="1988800"/>
            <a:ext cx="11367984" cy="4464388"/>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Date Placeholder 2">
            <a:extLst>
              <a:ext uri="{FF2B5EF4-FFF2-40B4-BE49-F238E27FC236}">
                <a16:creationId xmlns:a16="http://schemas.microsoft.com/office/drawing/2014/main" xmlns="" id="{03FD73A9-F91A-4FE2-9491-559B39DEFB71}"/>
              </a:ext>
            </a:extLst>
          </p:cNvPr>
          <p:cNvSpPr>
            <a:spLocks noGrp="1"/>
          </p:cNvSpPr>
          <p:nvPr>
            <p:ph type="dt" sz="half" idx="2"/>
          </p:nvPr>
        </p:nvSpPr>
        <p:spPr>
          <a:xfrm>
            <a:off x="407882" y="6555971"/>
            <a:ext cx="2828270" cy="219456"/>
          </a:xfrm>
          <a:prstGeom prst="rect">
            <a:avLst/>
          </a:prstGeom>
        </p:spPr>
        <p:txBody>
          <a:bodyPr wrap="square" lIns="0" tIns="0" rIns="0" bIns="0" anchor="ctr" anchorCtr="0">
            <a:noAutofit/>
          </a:bodyPr>
          <a:lstStyle>
            <a:lvl1pPr>
              <a:defRPr lang="de-DE" sz="800" kern="0" smtClean="0">
                <a:solidFill>
                  <a:schemeClr val="accent1"/>
                </a:solidFill>
                <a:latin typeface="+mj-lt"/>
                <a:cs typeface="Arial" panose="020B0604020202020204" pitchFamily="34" charset="0"/>
              </a:defRPr>
            </a:lvl1pPr>
          </a:lstStyle>
          <a:p>
            <a:pPr>
              <a:lnSpc>
                <a:spcPct val="85000"/>
              </a:lnSpc>
            </a:pPr>
            <a:r>
              <a:rPr lang="en-US" dirty="0">
                <a:solidFill>
                  <a:srgbClr val="0070AD"/>
                </a:solidFill>
              </a:rPr>
              <a:t>Group IT Project Charter Template v14.1 | 01/05/2018</a:t>
            </a:r>
          </a:p>
        </p:txBody>
      </p:sp>
      <p:sp>
        <p:nvSpPr>
          <p:cNvPr id="11" name="Footer Placeholder 3">
            <a:extLst>
              <a:ext uri="{FF2B5EF4-FFF2-40B4-BE49-F238E27FC236}">
                <a16:creationId xmlns:a16="http://schemas.microsoft.com/office/drawing/2014/main" xmlns="" id="{4921EF96-C81E-4F9B-BE8C-C8A1CF6740CB}"/>
              </a:ext>
            </a:extLst>
          </p:cNvPr>
          <p:cNvSpPr>
            <a:spLocks noGrp="1"/>
          </p:cNvSpPr>
          <p:nvPr>
            <p:ph type="ftr" sz="quarter" idx="3"/>
          </p:nvPr>
        </p:nvSpPr>
        <p:spPr>
          <a:xfrm>
            <a:off x="9321679" y="6555758"/>
            <a:ext cx="2223107"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dirty="0">
                <a:solidFill>
                  <a:srgbClr val="E6E7E7">
                    <a:lumMod val="50000"/>
                  </a:srgbClr>
                </a:solidFill>
              </a:rPr>
              <a:t>© 2018 Capgemini. All rights reserved.</a:t>
            </a:r>
          </a:p>
        </p:txBody>
      </p:sp>
      <p:sp>
        <p:nvSpPr>
          <p:cNvPr id="12" name="Slide Number Placeholder 28">
            <a:extLst>
              <a:ext uri="{FF2B5EF4-FFF2-40B4-BE49-F238E27FC236}">
                <a16:creationId xmlns:a16="http://schemas.microsoft.com/office/drawing/2014/main" xmlns="" id="{F52D1B37-382C-4AD7-BCF9-A2A2D041AF7D}"/>
              </a:ext>
            </a:extLst>
          </p:cNvPr>
          <p:cNvSpPr>
            <a:spLocks noGrp="1"/>
          </p:cNvSpPr>
          <p:nvPr>
            <p:ph type="sldNum" sz="quarter" idx="4"/>
          </p:nvPr>
        </p:nvSpPr>
        <p:spPr>
          <a:xfrm>
            <a:off x="11780944" y="6555758"/>
            <a:ext cx="123722"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a:solidFill>
                  <a:srgbClr val="E6E7E7">
                    <a:lumMod val="50000"/>
                  </a:srgbClr>
                </a:solidFill>
              </a:rPr>
              <a:pPr/>
              <a:t>‹#›</a:t>
            </a:fld>
            <a:endParaRPr lang="en-US" dirty="0">
              <a:solidFill>
                <a:srgbClr val="E6E7E7">
                  <a:lumMod val="50000"/>
                </a:srgbClr>
              </a:solidFill>
            </a:endParaRPr>
          </a:p>
        </p:txBody>
      </p:sp>
      <p:cxnSp>
        <p:nvCxnSpPr>
          <p:cNvPr id="13" name="Conector reto 49">
            <a:extLst>
              <a:ext uri="{FF2B5EF4-FFF2-40B4-BE49-F238E27FC236}">
                <a16:creationId xmlns:a16="http://schemas.microsoft.com/office/drawing/2014/main" xmlns="" id="{C60D9EF9-0C28-4061-B29A-CF8BFBCDDB85}"/>
              </a:ext>
            </a:extLst>
          </p:cNvPr>
          <p:cNvCxnSpPr>
            <a:cxnSpLocks/>
          </p:cNvCxnSpPr>
          <p:nvPr userDrawn="1"/>
        </p:nvCxnSpPr>
        <p:spPr>
          <a:xfrm flipV="1">
            <a:off x="11565747"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xmlns="" id="{EAEC8695-E178-4EFF-8F42-1063F584099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8404668" y="6591202"/>
            <a:ext cx="701815" cy="180000"/>
          </a:xfrm>
          <a:prstGeom prst="rect">
            <a:avLst/>
          </a:prstGeom>
        </p:spPr>
      </p:pic>
    </p:spTree>
    <p:extLst>
      <p:ext uri="{BB962C8B-B14F-4D97-AF65-F5344CB8AC3E}">
        <p14:creationId xmlns:p14="http://schemas.microsoft.com/office/powerpoint/2010/main" val="218622179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29"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 Id="rId30"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vmlDrawing" Target="../drawings/vmlDrawing8.v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image" Target="../media/image2.png"/><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theme" Target="../theme/theme2.xml"/><Relationship Id="rId29" Type="http://schemas.openxmlformats.org/officeDocument/2006/relationships/image" Target="../media/image3.sv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image" Target="../media/image1.emf"/><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oleObject" Target="../embeddings/oleObject8.bin"/><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ags" Target="../tags/tag9.xml"/><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userDrawn="1">
            <p:custDataLst>
              <p:tags r:id="rId19"/>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699"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9"/>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882" y="44531"/>
            <a:ext cx="11013735" cy="863601"/>
          </a:xfrm>
          <a:prstGeom prst="rect">
            <a:avLst/>
          </a:prstGeom>
        </p:spPr>
        <p:txBody>
          <a:bodyPr vert="horz" lIns="0" tIns="0" rIns="0" bIns="0" rtlCol="0" anchor="t">
            <a:normAutofit/>
          </a:bodyPr>
          <a:lstStyle/>
          <a:p>
            <a:pPr lvl="0">
              <a:lnSpc>
                <a:spcPts val="2999"/>
              </a:lnSpc>
            </a:pPr>
            <a:r>
              <a:rPr lang="en-US" noProof="0"/>
              <a:t>Click to edit Master title style</a:t>
            </a:r>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22">
            <a:extLst>
              <a:ext uri="{96DAC541-7B7A-43D3-8B79-37D633B846F1}">
                <asvg:svgBlip xmlns:asvg="http://schemas.microsoft.com/office/drawing/2016/SVG/main" xmlns="" r:embed="rId29"/>
              </a:ext>
            </a:extLst>
          </a:blip>
          <a:srcRect l="81836" t="-4713" b="16530"/>
          <a:stretch/>
        </p:blipFill>
        <p:spPr>
          <a:xfrm>
            <a:off x="11544786" y="188640"/>
            <a:ext cx="424245"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2960" y="1556740"/>
            <a:ext cx="11367984" cy="4896448"/>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Date Placeholder 2"/>
          <p:cNvSpPr>
            <a:spLocks noGrp="1"/>
          </p:cNvSpPr>
          <p:nvPr>
            <p:ph type="dt" sz="half" idx="2"/>
          </p:nvPr>
        </p:nvSpPr>
        <p:spPr>
          <a:xfrm>
            <a:off x="407882" y="6555971"/>
            <a:ext cx="2828270" cy="219456"/>
          </a:xfrm>
          <a:prstGeom prst="rect">
            <a:avLst/>
          </a:prstGeom>
        </p:spPr>
        <p:txBody>
          <a:bodyPr wrap="square" lIns="0" tIns="0" rIns="0" bIns="0" anchor="ctr" anchorCtr="0">
            <a:noAutofit/>
          </a:bodyPr>
          <a:lstStyle>
            <a:lvl1pPr>
              <a:defRPr lang="de-DE" sz="800" kern="0" smtClean="0">
                <a:solidFill>
                  <a:schemeClr val="accent1"/>
                </a:solidFill>
                <a:latin typeface="+mj-lt"/>
                <a:cs typeface="Arial" panose="020B0604020202020204" pitchFamily="34" charset="0"/>
              </a:defRPr>
            </a:lvl1pPr>
          </a:lstStyle>
          <a:p>
            <a:pPr defTabSz="914126">
              <a:lnSpc>
                <a:spcPct val="85000"/>
              </a:lnSpc>
            </a:pPr>
            <a:r>
              <a:rPr lang="en-US" dirty="0" smtClean="0">
                <a:solidFill>
                  <a:srgbClr val="0070AD"/>
                </a:solidFill>
              </a:rPr>
              <a:t>Group IT Project Charter Template v14.1 | 01/05/2018</a:t>
            </a:r>
            <a:endParaRPr lang="en-US" dirty="0">
              <a:solidFill>
                <a:srgbClr val="0070AD"/>
              </a:solidFill>
            </a:endParaRPr>
          </a:p>
        </p:txBody>
      </p:sp>
      <p:sp>
        <p:nvSpPr>
          <p:cNvPr id="4" name="Footer Placeholder 3"/>
          <p:cNvSpPr>
            <a:spLocks noGrp="1"/>
          </p:cNvSpPr>
          <p:nvPr>
            <p:ph type="ftr" sz="quarter" idx="3"/>
          </p:nvPr>
        </p:nvSpPr>
        <p:spPr>
          <a:xfrm>
            <a:off x="9321679" y="6555758"/>
            <a:ext cx="2223107"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pPr defTabSz="914126"/>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29" name="Slide Number Placeholder 28"/>
          <p:cNvSpPr>
            <a:spLocks noGrp="1"/>
          </p:cNvSpPr>
          <p:nvPr>
            <p:ph type="sldNum" sz="quarter" idx="4"/>
          </p:nvPr>
        </p:nvSpPr>
        <p:spPr>
          <a:xfrm>
            <a:off x="11780944" y="6555758"/>
            <a:ext cx="123722"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pPr defTabSz="914126"/>
            <a:fld id="{DD205EFF-948D-4AF6-B54C-65639188FB5F}" type="slidenum">
              <a:rPr lang="en-US" smtClean="0">
                <a:solidFill>
                  <a:srgbClr val="E6E7E7">
                    <a:lumMod val="50000"/>
                  </a:srgbClr>
                </a:solidFill>
              </a:rPr>
              <a:pPr defTabSz="914126"/>
              <a:t>‹#›</a:t>
            </a:fld>
            <a:endParaRPr lang="en-US" dirty="0">
              <a:solidFill>
                <a:srgbClr val="E6E7E7">
                  <a:lumMod val="50000"/>
                </a:srgbClr>
              </a:solidFill>
            </a:endParaRPr>
          </a:p>
        </p:txBody>
      </p:sp>
      <p:cxnSp>
        <p:nvCxnSpPr>
          <p:cNvPr id="3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11565747"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pic>
        <p:nvPicPr>
          <p:cNvPr id="6" name="Image 5">
            <a:extLst>
              <a:ext uri="{FF2B5EF4-FFF2-40B4-BE49-F238E27FC236}">
                <a16:creationId xmlns:a16="http://schemas.microsoft.com/office/drawing/2014/main" xmlns="" id="{BE2263AF-8B9A-4CAE-AC5C-CADFFBEAA77F}"/>
              </a:ext>
            </a:extLst>
          </p:cNvPr>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8404668" y="6591202"/>
            <a:ext cx="701815" cy="180000"/>
          </a:xfrm>
          <a:prstGeom prst="rect">
            <a:avLst/>
          </a:prstGeom>
        </p:spPr>
      </p:pic>
    </p:spTree>
    <p:extLst>
      <p:ext uri="{BB962C8B-B14F-4D97-AF65-F5344CB8AC3E}">
        <p14:creationId xmlns:p14="http://schemas.microsoft.com/office/powerpoint/2010/main" val="1304015649"/>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6" r:id="rId16"/>
  </p:sldLayoutIdLst>
  <p:timing>
    <p:tnLst>
      <p:par>
        <p:cTn id="1" dur="indefinite" restart="never" nodeType="tmRoot"/>
      </p:par>
    </p:tnLst>
  </p:timing>
  <p:hf hdr="0"/>
  <p:txStyles>
    <p:titleStyle>
      <a:lvl1pPr algn="l" defTabSz="914126" rtl="0" eaLnBrk="1" latinLnBrk="0" hangingPunct="1">
        <a:lnSpc>
          <a:spcPct val="90000"/>
        </a:lnSpc>
        <a:spcBef>
          <a:spcPct val="0"/>
        </a:spcBef>
        <a:buNone/>
        <a:defRPr lang="pt-PT" sz="29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126" rtl="0" eaLnBrk="1" latinLnBrk="0" hangingPunct="1">
        <a:lnSpc>
          <a:spcPct val="100000"/>
        </a:lnSpc>
        <a:spcBef>
          <a:spcPts val="600"/>
        </a:spcBef>
        <a:spcAft>
          <a:spcPts val="0"/>
        </a:spcAft>
        <a:buFont typeface="Arial" panose="020B0604020202020204" pitchFamily="34" charset="0"/>
        <a:buNone/>
        <a:defRPr sz="1999" kern="1200">
          <a:solidFill>
            <a:schemeClr val="tx1"/>
          </a:solidFill>
          <a:latin typeface="+mn-lt"/>
          <a:ea typeface="+mn-ea"/>
          <a:cs typeface="+mn-cs"/>
        </a:defRPr>
      </a:lvl1pPr>
      <a:lvl2pPr marL="233293" indent="-139658" algn="l" defTabSz="914126" rtl="0" eaLnBrk="1" latinLnBrk="0" hangingPunct="1">
        <a:lnSpc>
          <a:spcPct val="100000"/>
        </a:lnSpc>
        <a:spcBef>
          <a:spcPts val="600"/>
        </a:spcBef>
        <a:spcAft>
          <a:spcPts val="0"/>
        </a:spcAft>
        <a:buClr>
          <a:schemeClr val="accent1"/>
        </a:buClr>
        <a:buFont typeface="Wingdings" panose="05000000000000000000" pitchFamily="2" charset="2"/>
        <a:buChar char="§"/>
        <a:defRPr sz="1799" kern="1200">
          <a:solidFill>
            <a:schemeClr val="tx1"/>
          </a:solidFill>
          <a:latin typeface="+mn-lt"/>
          <a:ea typeface="+mn-ea"/>
          <a:cs typeface="+mn-cs"/>
        </a:defRPr>
      </a:lvl2pPr>
      <a:lvl3pPr marL="457063" indent="-223771" algn="l" defTabSz="914126" rtl="0" eaLnBrk="1" latinLnBrk="0" hangingPunct="1">
        <a:lnSpc>
          <a:spcPct val="100000"/>
        </a:lnSpc>
        <a:spcBef>
          <a:spcPts val="600"/>
        </a:spcBef>
        <a:spcAft>
          <a:spcPts val="0"/>
        </a:spcAft>
        <a:buClr>
          <a:schemeClr val="accent2"/>
        </a:buClr>
        <a:buFont typeface="Arial" panose="020B0604020202020204" pitchFamily="34" charset="0"/>
        <a:buChar char="•"/>
        <a:defRPr sz="1600" kern="1200">
          <a:solidFill>
            <a:schemeClr val="tx1"/>
          </a:solidFill>
          <a:latin typeface="+mn-lt"/>
          <a:ea typeface="+mn-ea"/>
          <a:cs typeface="+mn-cs"/>
        </a:defRPr>
      </a:lvl3pPr>
      <a:lvl4pPr marL="690356" indent="-233293" algn="l" defTabSz="914126"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669" indent="-179334" algn="l" defTabSz="914126"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pt-PT"/>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userDrawn="1">
            <p:custDataLst>
              <p:tags r:id="rId2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9144"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9"/>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F2EB016D-CF9A-4584-982E-40465F70132F}"/>
              </a:ext>
            </a:extLst>
          </p:cNvPr>
          <p:cNvSpPr>
            <a:spLocks noGrp="1"/>
          </p:cNvSpPr>
          <p:nvPr>
            <p:ph type="title"/>
          </p:nvPr>
        </p:nvSpPr>
        <p:spPr>
          <a:xfrm>
            <a:off x="407882" y="44531"/>
            <a:ext cx="11013735" cy="863601"/>
          </a:xfrm>
          <a:prstGeom prst="rect">
            <a:avLst/>
          </a:prstGeom>
        </p:spPr>
        <p:txBody>
          <a:bodyPr vert="horz" lIns="0" tIns="0" rIns="0" bIns="0" rtlCol="0" anchor="t">
            <a:normAutofit/>
          </a:bodyPr>
          <a:lstStyle/>
          <a:p>
            <a:pPr lvl="0">
              <a:lnSpc>
                <a:spcPts val="2999"/>
              </a:lnSpc>
            </a:pPr>
            <a:r>
              <a:rPr lang="en-US" noProof="0"/>
              <a:t>Click to edit Master title style</a:t>
            </a:r>
          </a:p>
        </p:txBody>
      </p:sp>
      <p:pic>
        <p:nvPicPr>
          <p:cNvPr id="9" name="Graphic 4">
            <a:extLst>
              <a:ext uri="{FF2B5EF4-FFF2-40B4-BE49-F238E27FC236}">
                <a16:creationId xmlns="" xmlns:a16="http://schemas.microsoft.com/office/drawing/2014/main" id="{25EEA1D4-3AF7-42D7-AE97-AE404AECFAEB}"/>
              </a:ext>
            </a:extLst>
          </p:cNvPr>
          <p:cNvPicPr>
            <a:picLocks noChangeAspect="1"/>
          </p:cNvPicPr>
          <p:nvPr userDrawn="1"/>
        </p:nvPicPr>
        <p:blipFill rotWithShape="1">
          <a:blip r:embed="rId25">
            <a:extLst>
              <a:ext uri="{96DAC541-7B7A-43D3-8B79-37D633B846F1}">
                <asvg:svgBlip xmlns="" xmlns:asvg="http://schemas.microsoft.com/office/drawing/2016/SVG/main" r:embed="rId29"/>
              </a:ext>
            </a:extLst>
          </a:blip>
          <a:srcRect l="81836" t="-4713" b="16530"/>
          <a:stretch/>
        </p:blipFill>
        <p:spPr>
          <a:xfrm>
            <a:off x="11544786" y="188640"/>
            <a:ext cx="424245" cy="459624"/>
          </a:xfrm>
          <a:prstGeom prst="rect">
            <a:avLst/>
          </a:prstGeom>
        </p:spPr>
      </p:pic>
      <p:sp>
        <p:nvSpPr>
          <p:cNvPr id="13"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412960" y="1556740"/>
            <a:ext cx="11367984" cy="4896448"/>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Date Placeholder 2"/>
          <p:cNvSpPr>
            <a:spLocks noGrp="1"/>
          </p:cNvSpPr>
          <p:nvPr>
            <p:ph type="dt" sz="half" idx="2"/>
          </p:nvPr>
        </p:nvSpPr>
        <p:spPr>
          <a:xfrm>
            <a:off x="407882" y="6555971"/>
            <a:ext cx="2828270" cy="219456"/>
          </a:xfrm>
          <a:prstGeom prst="rect">
            <a:avLst/>
          </a:prstGeom>
        </p:spPr>
        <p:txBody>
          <a:bodyPr wrap="square" lIns="0" tIns="0" rIns="0" bIns="0" anchor="ctr" anchorCtr="0">
            <a:noAutofit/>
          </a:bodyPr>
          <a:lstStyle>
            <a:lvl1pPr>
              <a:defRPr lang="de-DE" sz="800" kern="0" smtClean="0">
                <a:solidFill>
                  <a:schemeClr val="accent1"/>
                </a:solidFill>
                <a:latin typeface="+mj-lt"/>
                <a:cs typeface="Arial" panose="020B0604020202020204" pitchFamily="34" charset="0"/>
              </a:defRPr>
            </a:lvl1pPr>
          </a:lstStyle>
          <a:p>
            <a:pPr defTabSz="914126">
              <a:lnSpc>
                <a:spcPct val="85000"/>
              </a:lnSpc>
            </a:pPr>
            <a:r>
              <a:rPr lang="en-US" dirty="0">
                <a:solidFill>
                  <a:srgbClr val="0070AD"/>
                </a:solidFill>
              </a:rPr>
              <a:t>Group IT Project Charter Template v14.1 | 01/05/2018</a:t>
            </a:r>
          </a:p>
        </p:txBody>
      </p:sp>
      <p:sp>
        <p:nvSpPr>
          <p:cNvPr id="4" name="Footer Placeholder 3"/>
          <p:cNvSpPr>
            <a:spLocks noGrp="1"/>
          </p:cNvSpPr>
          <p:nvPr>
            <p:ph type="ftr" sz="quarter" idx="3"/>
          </p:nvPr>
        </p:nvSpPr>
        <p:spPr>
          <a:xfrm>
            <a:off x="9321679" y="6555758"/>
            <a:ext cx="2223107"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pPr defTabSz="914126"/>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29" name="Slide Number Placeholder 28"/>
          <p:cNvSpPr>
            <a:spLocks noGrp="1"/>
          </p:cNvSpPr>
          <p:nvPr>
            <p:ph type="sldNum" sz="quarter" idx="4"/>
          </p:nvPr>
        </p:nvSpPr>
        <p:spPr>
          <a:xfrm>
            <a:off x="11780944" y="6555758"/>
            <a:ext cx="123722"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pPr defTabSz="914126"/>
            <a:fld id="{DD205EFF-948D-4AF6-B54C-65639188FB5F}" type="slidenum">
              <a:rPr lang="en-US">
                <a:solidFill>
                  <a:srgbClr val="E6E7E7">
                    <a:lumMod val="50000"/>
                  </a:srgbClr>
                </a:solidFill>
              </a:rPr>
              <a:pPr defTabSz="914126"/>
              <a:t>‹#›</a:t>
            </a:fld>
            <a:endParaRPr lang="en-US" dirty="0">
              <a:solidFill>
                <a:srgbClr val="E6E7E7">
                  <a:lumMod val="50000"/>
                </a:srgbClr>
              </a:solidFill>
            </a:endParaRPr>
          </a:p>
        </p:txBody>
      </p:sp>
      <p:cxnSp>
        <p:nvCxnSpPr>
          <p:cNvPr id="3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11565747"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pic>
        <p:nvPicPr>
          <p:cNvPr id="6" name="Image 5">
            <a:extLst>
              <a:ext uri="{FF2B5EF4-FFF2-40B4-BE49-F238E27FC236}">
                <a16:creationId xmlns="" xmlns:a16="http://schemas.microsoft.com/office/drawing/2014/main" id="{BE2263AF-8B9A-4CAE-AC5C-CADFFBEAA77F}"/>
              </a:ext>
            </a:extLst>
          </p:cNvPr>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8404668" y="6591202"/>
            <a:ext cx="701815" cy="180000"/>
          </a:xfrm>
          <a:prstGeom prst="rect">
            <a:avLst/>
          </a:prstGeom>
        </p:spPr>
      </p:pic>
    </p:spTree>
    <p:extLst>
      <p:ext uri="{BB962C8B-B14F-4D97-AF65-F5344CB8AC3E}">
        <p14:creationId xmlns:p14="http://schemas.microsoft.com/office/powerpoint/2010/main" val="1983906158"/>
      </p:ext>
    </p:extLst>
  </p:cSld>
  <p:clrMap bg1="lt1" tx1="dk1" bg2="lt2" tx2="dk2" accent1="accent1" accent2="accent2" accent3="accent3" accent4="accent4" accent5="accent5" accent6="accent6" hlink="hlink" folHlink="folHlink"/>
  <p:sldLayoutIdLst>
    <p:sldLayoutId id="2147484071" r:id="rId1"/>
    <p:sldLayoutId id="2147484072" r:id="rId2"/>
    <p:sldLayoutId id="2147484073" r:id="rId3"/>
    <p:sldLayoutId id="2147484074" r:id="rId4"/>
    <p:sldLayoutId id="2147484075" r:id="rId5"/>
    <p:sldLayoutId id="2147484076" r:id="rId6"/>
    <p:sldLayoutId id="2147484077" r:id="rId7"/>
    <p:sldLayoutId id="2147484078" r:id="rId8"/>
    <p:sldLayoutId id="2147484079" r:id="rId9"/>
    <p:sldLayoutId id="2147484080" r:id="rId10"/>
    <p:sldLayoutId id="2147484081" r:id="rId11"/>
    <p:sldLayoutId id="2147484082" r:id="rId12"/>
    <p:sldLayoutId id="2147484083" r:id="rId13"/>
    <p:sldLayoutId id="2147484084" r:id="rId14"/>
    <p:sldLayoutId id="2147484085" r:id="rId15"/>
    <p:sldLayoutId id="2147484086" r:id="rId16"/>
    <p:sldLayoutId id="2147484087" r:id="rId17"/>
    <p:sldLayoutId id="2147484088" r:id="rId18"/>
    <p:sldLayoutId id="2147484089" r:id="rId19"/>
  </p:sldLayoutIdLst>
  <p:hf hdr="0"/>
  <p:txStyles>
    <p:titleStyle>
      <a:lvl1pPr algn="l" defTabSz="914126" rtl="0" eaLnBrk="1" latinLnBrk="0" hangingPunct="1">
        <a:lnSpc>
          <a:spcPct val="90000"/>
        </a:lnSpc>
        <a:spcBef>
          <a:spcPct val="0"/>
        </a:spcBef>
        <a:buNone/>
        <a:defRPr lang="pt-PT" sz="29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126" rtl="0" eaLnBrk="1" latinLnBrk="0" hangingPunct="1">
        <a:lnSpc>
          <a:spcPct val="100000"/>
        </a:lnSpc>
        <a:spcBef>
          <a:spcPts val="600"/>
        </a:spcBef>
        <a:spcAft>
          <a:spcPts val="0"/>
        </a:spcAft>
        <a:buFont typeface="Arial" panose="020B0604020202020204" pitchFamily="34" charset="0"/>
        <a:buNone/>
        <a:defRPr sz="1999" kern="1200">
          <a:solidFill>
            <a:schemeClr val="tx1"/>
          </a:solidFill>
          <a:latin typeface="+mn-lt"/>
          <a:ea typeface="+mn-ea"/>
          <a:cs typeface="+mn-cs"/>
        </a:defRPr>
      </a:lvl1pPr>
      <a:lvl2pPr marL="233293" indent="-139658" algn="l" defTabSz="914126" rtl="0" eaLnBrk="1" latinLnBrk="0" hangingPunct="1">
        <a:lnSpc>
          <a:spcPct val="100000"/>
        </a:lnSpc>
        <a:spcBef>
          <a:spcPts val="600"/>
        </a:spcBef>
        <a:spcAft>
          <a:spcPts val="0"/>
        </a:spcAft>
        <a:buClr>
          <a:schemeClr val="accent1"/>
        </a:buClr>
        <a:buFont typeface="Wingdings" panose="05000000000000000000" pitchFamily="2" charset="2"/>
        <a:buChar char="§"/>
        <a:defRPr sz="1799" kern="1200">
          <a:solidFill>
            <a:schemeClr val="tx1"/>
          </a:solidFill>
          <a:latin typeface="+mn-lt"/>
          <a:ea typeface="+mn-ea"/>
          <a:cs typeface="+mn-cs"/>
        </a:defRPr>
      </a:lvl2pPr>
      <a:lvl3pPr marL="457063" indent="-223771" algn="l" defTabSz="914126" rtl="0" eaLnBrk="1" latinLnBrk="0" hangingPunct="1">
        <a:lnSpc>
          <a:spcPct val="100000"/>
        </a:lnSpc>
        <a:spcBef>
          <a:spcPts val="600"/>
        </a:spcBef>
        <a:spcAft>
          <a:spcPts val="0"/>
        </a:spcAft>
        <a:buClr>
          <a:schemeClr val="accent2"/>
        </a:buClr>
        <a:buFont typeface="Arial" panose="020B0604020202020204" pitchFamily="34" charset="0"/>
        <a:buChar char="•"/>
        <a:defRPr sz="1600" kern="1200">
          <a:solidFill>
            <a:schemeClr val="tx1"/>
          </a:solidFill>
          <a:latin typeface="+mn-lt"/>
          <a:ea typeface="+mn-ea"/>
          <a:cs typeface="+mn-cs"/>
        </a:defRPr>
      </a:lvl3pPr>
      <a:lvl4pPr marL="690356" indent="-233293" algn="l" defTabSz="914126"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669" indent="-179334" algn="l" defTabSz="914126"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pt-PT"/>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vmlDrawing" Target="../drawings/vmlDrawing17.vml"/><Relationship Id="rId6" Type="http://schemas.openxmlformats.org/officeDocument/2006/relationships/image" Target="../media/image16.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hyperlink" Target="https://www.uipath.com/developers/community-edition" TargetMode="Externa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20.xml"/><Relationship Id="rId1" Type="http://schemas.openxmlformats.org/officeDocument/2006/relationships/vmlDrawing" Target="../drawings/vmlDrawing18.vml"/><Relationship Id="rId4" Type="http://schemas.openxmlformats.org/officeDocument/2006/relationships/image" Target="../media/image27.wmf"/></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16.emf"/><Relationship Id="rId5" Type="http://schemas.openxmlformats.org/officeDocument/2006/relationships/oleObject" Target="../embeddings/oleObject18.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hyperlink" Target="https://www.edureka.co/blog/robotic-process-automation" TargetMode="External"/><Relationship Id="rId2" Type="http://schemas.openxmlformats.org/officeDocument/2006/relationships/slideLayout" Target="../slideLayouts/slideLayout26.xml"/><Relationship Id="rId1" Type="http://schemas.openxmlformats.org/officeDocument/2006/relationships/themeOverride" Target="../theme/themeOverride1.xml"/></Relationships>
</file>

<file path=ppt/slides/_rels/slide4.xml.rels><?xml version="1.0" encoding="UTF-8" standalone="yes"?>
<Relationships xmlns="http://schemas.openxmlformats.org/package/2006/relationships"><Relationship Id="rId2" Type="http://schemas.openxmlformats.org/officeDocument/2006/relationships/hyperlink" Target="https://www.edureka.co/robotic-process-automation-training" TargetMode="Externa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hyperlink" Target="https://academy.uipath.com/learn" TargetMode="Externa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www.edureka.co/blog/rpa-tools-list-and-comparison/" TargetMode="Externa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1"/>
          <a:ext cx="195333" cy="158751"/>
        </p:xfrm>
        <a:graphic>
          <a:graphicData uri="http://schemas.openxmlformats.org/presentationml/2006/ole">
            <mc:AlternateContent xmlns:mc="http://schemas.openxmlformats.org/markup-compatibility/2006">
              <mc:Choice xmlns:v="urn:schemas-microsoft-com:vml" Requires="v">
                <p:oleObj spid="_x0000_s16713" name="think-cell Slide" r:id="rId5" imgW="360" imgH="360" progId="">
                  <p:embed/>
                </p:oleObj>
              </mc:Choice>
              <mc:Fallback>
                <p:oleObj name="think-cell Slide" r:id="rId5" imgW="360" imgH="360" progId="">
                  <p:embed/>
                  <p:pic>
                    <p:nvPicPr>
                      <p:cNvPr id="9"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95333"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le 6">
            <a:extLst>
              <a:ext uri="{FF2B5EF4-FFF2-40B4-BE49-F238E27FC236}">
                <a16:creationId xmlns="" xmlns:a16="http://schemas.microsoft.com/office/drawing/2014/main" id="{61635366-AB32-47CA-BA6F-CD7B1595C8D3}"/>
              </a:ext>
            </a:extLst>
          </p:cNvPr>
          <p:cNvSpPr>
            <a:spLocks noGrp="1"/>
          </p:cNvSpPr>
          <p:nvPr>
            <p:ph type="ctrTitle"/>
          </p:nvPr>
        </p:nvSpPr>
        <p:spPr>
          <a:xfrm>
            <a:off x="407882" y="731062"/>
            <a:ext cx="7851698" cy="897689"/>
          </a:xfrm>
        </p:spPr>
        <p:txBody>
          <a:bodyPr/>
          <a:lstStyle/>
          <a:p>
            <a:r>
              <a:rPr lang="en-GB" dirty="0" smtClean="0"/>
              <a:t>E-Collaborative </a:t>
            </a:r>
            <a:r>
              <a:rPr lang="en-GB" dirty="0"/>
              <a:t>– </a:t>
            </a:r>
            <a:r>
              <a:rPr lang="en-GB" dirty="0" smtClean="0"/>
              <a:t>Sanity Testing Automation                                [RPA]</a:t>
            </a:r>
            <a:endParaRPr lang="en-GB" dirty="0"/>
          </a:p>
        </p:txBody>
      </p:sp>
      <p:sp>
        <p:nvSpPr>
          <p:cNvPr id="13" name="Subtitle 7">
            <a:extLst>
              <a:ext uri="{FF2B5EF4-FFF2-40B4-BE49-F238E27FC236}">
                <a16:creationId xmlns="" xmlns:a16="http://schemas.microsoft.com/office/drawing/2014/main" id="{30A38B7C-7A07-48B7-A611-235359B347FA}"/>
              </a:ext>
            </a:extLst>
          </p:cNvPr>
          <p:cNvSpPr>
            <a:spLocks noGrp="1"/>
          </p:cNvSpPr>
          <p:nvPr>
            <p:ph type="subTitle" idx="1"/>
          </p:nvPr>
        </p:nvSpPr>
        <p:spPr/>
        <p:txBody>
          <a:bodyPr/>
          <a:lstStyle/>
          <a:p>
            <a:r>
              <a:rPr lang="en-GB" dirty="0" smtClean="0"/>
              <a:t>Chandrapriya– </a:t>
            </a:r>
            <a:r>
              <a:rPr lang="en-GB" dirty="0"/>
              <a:t>4</a:t>
            </a:r>
            <a:r>
              <a:rPr lang="en-GB" baseline="30000" dirty="0" smtClean="0"/>
              <a:t>th</a:t>
            </a:r>
            <a:r>
              <a:rPr lang="en-GB" dirty="0" smtClean="0"/>
              <a:t> Dec </a:t>
            </a:r>
            <a:r>
              <a:rPr lang="en-GB" dirty="0"/>
              <a:t>2019</a:t>
            </a: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881" y="549275"/>
            <a:ext cx="11013735" cy="863601"/>
          </a:xfrm>
        </p:spPr>
        <p:txBody>
          <a:bodyPr>
            <a:normAutofit fontScale="90000"/>
          </a:bodyPr>
          <a:lstStyle/>
          <a:p>
            <a:r>
              <a:rPr lang="en-US" b="1" dirty="0"/>
              <a:t>Features of UiPath</a:t>
            </a:r>
            <a:br>
              <a:rPr lang="en-US" b="1" dirty="0"/>
            </a:br>
            <a:r>
              <a:rPr lang="en-US" dirty="0"/>
              <a:t/>
            </a:r>
            <a:br>
              <a:rPr lang="en-US" dirty="0"/>
            </a:br>
            <a:endParaRPr lang="en-US" dirty="0"/>
          </a:p>
        </p:txBody>
      </p:sp>
      <p:sp>
        <p:nvSpPr>
          <p:cNvPr id="3" name="Date Placeholder 2"/>
          <p:cNvSpPr>
            <a:spLocks noGrp="1"/>
          </p:cNvSpPr>
          <p:nvPr>
            <p:ph type="dt" sz="half" idx="14"/>
          </p:nvPr>
        </p:nvSpPr>
        <p:spPr/>
        <p:txBody>
          <a:bodyPr/>
          <a:lstStyle/>
          <a:p>
            <a:pPr>
              <a:lnSpc>
                <a:spcPct val="85000"/>
              </a:lnSpc>
            </a:pPr>
            <a:r>
              <a:rPr lang="en-US" dirty="0" smtClean="0">
                <a:solidFill>
                  <a:srgbClr val="0070AD"/>
                </a:solidFill>
              </a:rPr>
              <a:t>Group IT Project Charter Template v14.1 | 01/05/2018</a:t>
            </a:r>
            <a:endParaRPr lang="en-US" dirty="0">
              <a:solidFill>
                <a:srgbClr val="0070AD"/>
              </a:solidFill>
            </a:endParaRP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smtClean="0">
                <a:solidFill>
                  <a:srgbClr val="E6E7E7">
                    <a:lumMod val="50000"/>
                  </a:srgbClr>
                </a:solidFill>
              </a:rPr>
              <a:pPr/>
              <a:t>10</a:t>
            </a:fld>
            <a:endParaRPr lang="en-US" dirty="0">
              <a:solidFill>
                <a:srgbClr val="E6E7E7">
                  <a:lumMod val="50000"/>
                </a:srgbClr>
              </a:solidFill>
            </a:endParaRPr>
          </a:p>
        </p:txBody>
      </p:sp>
      <p:sp>
        <p:nvSpPr>
          <p:cNvPr id="6" name="TextBox 5"/>
          <p:cNvSpPr txBox="1"/>
          <p:nvPr/>
        </p:nvSpPr>
        <p:spPr>
          <a:xfrm>
            <a:off x="513769" y="1412876"/>
            <a:ext cx="10758833" cy="4401205"/>
          </a:xfrm>
          <a:prstGeom prst="rect">
            <a:avLst/>
          </a:prstGeom>
          <a:noFill/>
        </p:spPr>
        <p:txBody>
          <a:bodyPr wrap="square" rtlCol="0">
            <a:spAutoFit/>
          </a:bodyPr>
          <a:lstStyle/>
          <a:p>
            <a:pPr marL="285750" indent="-285750">
              <a:buFont typeface="Wingdings" panose="05000000000000000000" pitchFamily="2" charset="2"/>
              <a:buChar char="Ø"/>
            </a:pPr>
            <a:r>
              <a:rPr lang="en-US" sz="1400" b="1" dirty="0" smtClean="0"/>
              <a:t>Hosting </a:t>
            </a:r>
            <a:r>
              <a:rPr lang="en-US" sz="1400" b="1" dirty="0"/>
              <a:t>Options: </a:t>
            </a:r>
            <a:r>
              <a:rPr lang="en-US" sz="1400" dirty="0"/>
              <a:t>It can be hosted in cloud environments or virtual terminals.</a:t>
            </a:r>
          </a:p>
          <a:p>
            <a:pPr marL="285750" indent="-285750">
              <a:buFont typeface="Wingdings" panose="05000000000000000000" pitchFamily="2" charset="2"/>
              <a:buChar char="Ø"/>
            </a:pPr>
            <a:endParaRPr lang="en-US" sz="1400" b="1" dirty="0" smtClean="0"/>
          </a:p>
          <a:p>
            <a:pPr marL="285750" indent="-285750">
              <a:buFont typeface="Wingdings" panose="05000000000000000000" pitchFamily="2" charset="2"/>
              <a:buChar char="Ø"/>
            </a:pPr>
            <a:r>
              <a:rPr lang="en-US" sz="1400" b="1" dirty="0" smtClean="0"/>
              <a:t>Application </a:t>
            </a:r>
            <a:r>
              <a:rPr lang="en-US" sz="1400" b="1" dirty="0"/>
              <a:t>Compatibility: </a:t>
            </a:r>
            <a:r>
              <a:rPr lang="en-US" sz="1400" dirty="0"/>
              <a:t>Offers a high range of applications to work with, which includes web and desktop applications.</a:t>
            </a:r>
          </a:p>
          <a:p>
            <a:pPr marL="285750" indent="-285750">
              <a:buFont typeface="Wingdings" panose="05000000000000000000" pitchFamily="2" charset="2"/>
              <a:buChar char="Ø"/>
            </a:pPr>
            <a:endParaRPr lang="en-US" sz="1400" b="1" dirty="0" smtClean="0"/>
          </a:p>
          <a:p>
            <a:pPr marL="285750" indent="-285750">
              <a:buFont typeface="Wingdings" panose="05000000000000000000" pitchFamily="2" charset="2"/>
              <a:buChar char="Ø"/>
            </a:pPr>
            <a:r>
              <a:rPr lang="en-US" sz="1400" b="1" dirty="0" smtClean="0"/>
              <a:t>Centralized </a:t>
            </a:r>
            <a:r>
              <a:rPr lang="en-US" sz="1400" b="1" dirty="0"/>
              <a:t>repository: </a:t>
            </a:r>
            <a:r>
              <a:rPr lang="en-US" sz="1400" dirty="0"/>
              <a:t>This feature helps for handling all the robots simultaneously by users.</a:t>
            </a:r>
          </a:p>
          <a:p>
            <a:pPr marL="285750" indent="-285750">
              <a:buFont typeface="Wingdings" panose="05000000000000000000" pitchFamily="2" charset="2"/>
              <a:buChar char="Ø"/>
            </a:pPr>
            <a:endParaRPr lang="en-US" sz="1400" b="1" dirty="0" smtClean="0"/>
          </a:p>
          <a:p>
            <a:pPr marL="285750" indent="-285750">
              <a:buFont typeface="Wingdings" panose="05000000000000000000" pitchFamily="2" charset="2"/>
              <a:buChar char="Ø"/>
            </a:pPr>
            <a:r>
              <a:rPr lang="en-US" sz="1400" b="1" dirty="0" smtClean="0"/>
              <a:t>Security</a:t>
            </a:r>
            <a:r>
              <a:rPr lang="en-US" sz="1400" b="1" dirty="0"/>
              <a:t>: </a:t>
            </a:r>
            <a:r>
              <a:rPr lang="en-US" sz="1400" dirty="0"/>
              <a:t>Offers auto login features to run the bots</a:t>
            </a:r>
          </a:p>
          <a:p>
            <a:pPr marL="285750" indent="-285750">
              <a:buFont typeface="Wingdings" panose="05000000000000000000" pitchFamily="2" charset="2"/>
              <a:buChar char="Ø"/>
            </a:pPr>
            <a:endParaRPr lang="en-US" sz="1400" b="1" dirty="0" smtClean="0"/>
          </a:p>
          <a:p>
            <a:pPr marL="285750" indent="-285750">
              <a:buFont typeface="Wingdings" panose="05000000000000000000" pitchFamily="2" charset="2"/>
              <a:buChar char="Ø"/>
            </a:pPr>
            <a:r>
              <a:rPr lang="en-US" sz="1400" b="1" dirty="0" smtClean="0"/>
              <a:t>Advanced </a:t>
            </a:r>
            <a:r>
              <a:rPr lang="en-US" sz="1400" b="1" dirty="0"/>
              <a:t>screen scraping solution: </a:t>
            </a:r>
            <a:r>
              <a:rPr lang="en-US" sz="1400" dirty="0"/>
              <a:t>Scraping solution that works with any application </a:t>
            </a:r>
            <a:r>
              <a:rPr lang="en-US" sz="1400" dirty="0" err="1"/>
              <a:t>like,.Net</a:t>
            </a:r>
            <a:r>
              <a:rPr lang="en-US" sz="1400" dirty="0"/>
              <a:t>, Java, Flash, PDF, Legacy, SAP, with absolute accuracy.</a:t>
            </a:r>
          </a:p>
          <a:p>
            <a:pPr marL="285750" indent="-285750">
              <a:buFont typeface="Wingdings" panose="05000000000000000000" pitchFamily="2" charset="2"/>
              <a:buChar char="Ø"/>
            </a:pPr>
            <a:endParaRPr lang="en-US" sz="1400" b="1" dirty="0" smtClean="0"/>
          </a:p>
          <a:p>
            <a:pPr marL="285750" indent="-285750">
              <a:buFont typeface="Wingdings" panose="05000000000000000000" pitchFamily="2" charset="2"/>
              <a:buChar char="Ø"/>
            </a:pPr>
            <a:r>
              <a:rPr lang="en-US" sz="1400" b="1" dirty="0" smtClean="0"/>
              <a:t>Reliable </a:t>
            </a:r>
            <a:r>
              <a:rPr lang="en-US" sz="1400" b="1" dirty="0"/>
              <a:t>tool for modeling business processes:</a:t>
            </a:r>
            <a:r>
              <a:rPr lang="en-US" sz="1400" dirty="0"/>
              <a:t> The UiPath studio offers automation excellence with the help of model business processes.</a:t>
            </a:r>
          </a:p>
          <a:p>
            <a:pPr marL="285750" indent="-285750">
              <a:buFont typeface="Wingdings" panose="05000000000000000000" pitchFamily="2" charset="2"/>
              <a:buChar char="Ø"/>
            </a:pPr>
            <a:endParaRPr lang="en-US" sz="1400" b="1" dirty="0" smtClean="0"/>
          </a:p>
          <a:p>
            <a:pPr marL="285750" indent="-285750">
              <a:buFont typeface="Wingdings" panose="05000000000000000000" pitchFamily="2" charset="2"/>
              <a:buChar char="Ø"/>
            </a:pPr>
            <a:r>
              <a:rPr lang="en-US" sz="1400" b="1" dirty="0" smtClean="0"/>
              <a:t>Level </a:t>
            </a:r>
            <a:r>
              <a:rPr lang="en-US" sz="1400" b="1" dirty="0"/>
              <a:t>of scalability and Robustness</a:t>
            </a:r>
            <a:r>
              <a:rPr lang="en-US" sz="1400" b="1" dirty="0" smtClean="0"/>
              <a:t>:</a:t>
            </a:r>
          </a:p>
          <a:p>
            <a:endParaRPr lang="en-US" sz="1400" dirty="0"/>
          </a:p>
          <a:p>
            <a:pPr marL="285750" indent="-285750">
              <a:buFont typeface="Courier New" panose="02070309020205020404" pitchFamily="49" charset="0"/>
              <a:buChar char="o"/>
            </a:pPr>
            <a:r>
              <a:rPr lang="en-US" sz="1400" dirty="0"/>
              <a:t>Effective debugging and exception handling mechanisms</a:t>
            </a:r>
          </a:p>
          <a:p>
            <a:pPr marL="285750" indent="-285750">
              <a:buFont typeface="Courier New" panose="02070309020205020404" pitchFamily="49" charset="0"/>
              <a:buChar char="o"/>
            </a:pPr>
            <a:r>
              <a:rPr lang="en-US" sz="1400" dirty="0"/>
              <a:t>Artificial intelligence handling day to day applications like outlooks excel, PDF</a:t>
            </a:r>
          </a:p>
          <a:p>
            <a:endParaRPr lang="en-US" sz="1400" dirty="0" smtClean="0"/>
          </a:p>
        </p:txBody>
      </p:sp>
    </p:spTree>
    <p:extLst>
      <p:ext uri="{BB962C8B-B14F-4D97-AF65-F5344CB8AC3E}">
        <p14:creationId xmlns:p14="http://schemas.microsoft.com/office/powerpoint/2010/main" val="138173494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881" y="549275"/>
            <a:ext cx="11013735" cy="863601"/>
          </a:xfrm>
        </p:spPr>
        <p:txBody>
          <a:bodyPr>
            <a:normAutofit fontScale="90000"/>
          </a:bodyPr>
          <a:lstStyle/>
          <a:p>
            <a:r>
              <a:rPr lang="en-US" b="1" dirty="0"/>
              <a:t>How to install </a:t>
            </a:r>
            <a:r>
              <a:rPr lang="en-US" b="1" dirty="0" err="1" smtClean="0"/>
              <a:t>Ui</a:t>
            </a:r>
            <a:r>
              <a:rPr lang="en-US" b="1" dirty="0" smtClean="0"/>
              <a:t> PATH</a:t>
            </a:r>
            <a:r>
              <a:rPr lang="en-US" b="1" dirty="0"/>
              <a:t>?</a:t>
            </a:r>
            <a:br>
              <a:rPr lang="en-US" b="1" dirty="0"/>
            </a:br>
            <a:r>
              <a:rPr lang="en-US" b="1" dirty="0"/>
              <a:t/>
            </a:r>
            <a:br>
              <a:rPr lang="en-US" b="1" dirty="0"/>
            </a:br>
            <a:r>
              <a:rPr lang="en-US" dirty="0"/>
              <a:t/>
            </a:r>
            <a:br>
              <a:rPr lang="en-US" dirty="0"/>
            </a:br>
            <a:endParaRPr lang="en-US" dirty="0"/>
          </a:p>
        </p:txBody>
      </p:sp>
      <p:sp>
        <p:nvSpPr>
          <p:cNvPr id="3" name="Date Placeholder 2"/>
          <p:cNvSpPr>
            <a:spLocks noGrp="1"/>
          </p:cNvSpPr>
          <p:nvPr>
            <p:ph type="dt" sz="half" idx="14"/>
          </p:nvPr>
        </p:nvSpPr>
        <p:spPr/>
        <p:txBody>
          <a:bodyPr/>
          <a:lstStyle/>
          <a:p>
            <a:pPr>
              <a:lnSpc>
                <a:spcPct val="85000"/>
              </a:lnSpc>
            </a:pPr>
            <a:r>
              <a:rPr lang="en-US" dirty="0" smtClean="0">
                <a:solidFill>
                  <a:srgbClr val="0070AD"/>
                </a:solidFill>
              </a:rPr>
              <a:t>Group IT Project Charter Template v14.1 | 01/05/2018</a:t>
            </a:r>
            <a:endParaRPr lang="en-US" dirty="0">
              <a:solidFill>
                <a:srgbClr val="0070AD"/>
              </a:solidFill>
            </a:endParaRP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smtClean="0">
                <a:solidFill>
                  <a:srgbClr val="E6E7E7">
                    <a:lumMod val="50000"/>
                  </a:srgbClr>
                </a:solidFill>
              </a:rPr>
              <a:pPr/>
              <a:t>11</a:t>
            </a:fld>
            <a:endParaRPr lang="en-US" dirty="0">
              <a:solidFill>
                <a:srgbClr val="E6E7E7">
                  <a:lumMod val="50000"/>
                </a:srgbClr>
              </a:solidFill>
            </a:endParaRPr>
          </a:p>
        </p:txBody>
      </p:sp>
      <p:sp>
        <p:nvSpPr>
          <p:cNvPr id="6" name="TextBox 5"/>
          <p:cNvSpPr txBox="1"/>
          <p:nvPr/>
        </p:nvSpPr>
        <p:spPr>
          <a:xfrm>
            <a:off x="588720" y="1572718"/>
            <a:ext cx="10832896" cy="3970318"/>
          </a:xfrm>
          <a:prstGeom prst="rect">
            <a:avLst/>
          </a:prstGeom>
          <a:noFill/>
        </p:spPr>
        <p:txBody>
          <a:bodyPr wrap="square" rtlCol="0">
            <a:spAutoFit/>
          </a:bodyPr>
          <a:lstStyle/>
          <a:p>
            <a:r>
              <a:rPr lang="en-US" sz="1800" b="1" dirty="0" smtClean="0">
                <a:latin typeface="Calibri" panose="020F0502020204030204" pitchFamily="34" charset="0"/>
                <a:cs typeface="Calibri" panose="020F0502020204030204" pitchFamily="34" charset="0"/>
              </a:rPr>
              <a:t>Step</a:t>
            </a:r>
            <a:r>
              <a:rPr lang="en-US" sz="1800" dirty="0" smtClean="0">
                <a:latin typeface="Calibri" panose="020F0502020204030204" pitchFamily="34" charset="0"/>
                <a:cs typeface="Calibri" panose="020F0502020204030204" pitchFamily="34" charset="0"/>
              </a:rPr>
              <a:t> 1.Enter </a:t>
            </a:r>
            <a:r>
              <a:rPr lang="en-US" sz="1800" dirty="0">
                <a:latin typeface="Calibri" panose="020F0502020204030204" pitchFamily="34" charset="0"/>
                <a:cs typeface="Calibri" panose="020F0502020204030204" pitchFamily="34" charset="0"/>
              </a:rPr>
              <a:t>this URL in your browser: </a:t>
            </a:r>
            <a:r>
              <a:rPr lang="en-US" sz="1800" dirty="0">
                <a:latin typeface="Calibri" panose="020F0502020204030204" pitchFamily="34" charset="0"/>
                <a:cs typeface="Calibri" panose="020F0502020204030204" pitchFamily="34" charset="0"/>
                <a:hlinkClick r:id="rId2"/>
              </a:rPr>
              <a:t>https://www.uipath.com/developers/community-edition</a:t>
            </a:r>
            <a:r>
              <a:rPr lang="en-US" sz="1800" dirty="0" smtClean="0">
                <a:latin typeface="Calibri" panose="020F0502020204030204" pitchFamily="34" charset="0"/>
                <a:cs typeface="Calibri" panose="020F0502020204030204" pitchFamily="34" charset="0"/>
              </a:rPr>
              <a:t>. </a:t>
            </a:r>
            <a:r>
              <a:rPr lang="en-US" sz="1800" dirty="0">
                <a:latin typeface="Calibri" panose="020F0502020204030204" pitchFamily="34" charset="0"/>
                <a:cs typeface="Calibri" panose="020F0502020204030204" pitchFamily="34" charset="0"/>
              </a:rPr>
              <a:t>Click on get community edition button</a:t>
            </a:r>
            <a:r>
              <a:rPr lang="en-US" sz="1800" dirty="0" smtClean="0">
                <a:latin typeface="Calibri" panose="020F0502020204030204" pitchFamily="34" charset="0"/>
                <a:cs typeface="Calibri" panose="020F0502020204030204" pitchFamily="34" charset="0"/>
              </a:rPr>
              <a:t>.</a:t>
            </a:r>
          </a:p>
          <a:p>
            <a:endParaRPr lang="en-US" sz="1800" dirty="0">
              <a:latin typeface="Calibri" panose="020F0502020204030204" pitchFamily="34" charset="0"/>
              <a:cs typeface="Calibri" panose="020F0502020204030204" pitchFamily="34" charset="0"/>
            </a:endParaRPr>
          </a:p>
          <a:p>
            <a:r>
              <a:rPr lang="en-US" sz="1800" b="1" dirty="0" smtClean="0">
                <a:latin typeface="Calibri" panose="020F0502020204030204" pitchFamily="34" charset="0"/>
                <a:cs typeface="Calibri" panose="020F0502020204030204" pitchFamily="34" charset="0"/>
              </a:rPr>
              <a:t>Step</a:t>
            </a:r>
            <a:r>
              <a:rPr lang="en-US" sz="1800" dirty="0" smtClean="0">
                <a:latin typeface="Calibri" panose="020F0502020204030204" pitchFamily="34" charset="0"/>
                <a:cs typeface="Calibri" panose="020F0502020204030204" pitchFamily="34" charset="0"/>
              </a:rPr>
              <a:t> 2.Click on Community cloud</a:t>
            </a:r>
          </a:p>
          <a:p>
            <a:endParaRPr lang="en-US" sz="1800" dirty="0">
              <a:latin typeface="Calibri" panose="020F0502020204030204" pitchFamily="34" charset="0"/>
              <a:cs typeface="Calibri" panose="020F0502020204030204" pitchFamily="34" charset="0"/>
            </a:endParaRPr>
          </a:p>
          <a:p>
            <a:r>
              <a:rPr lang="en-US" sz="1800" b="1" dirty="0" smtClean="0">
                <a:latin typeface="Calibri" panose="020F0502020204030204" pitchFamily="34" charset="0"/>
                <a:cs typeface="Calibri" panose="020F0502020204030204" pitchFamily="34" charset="0"/>
              </a:rPr>
              <a:t>Step</a:t>
            </a:r>
            <a:r>
              <a:rPr lang="en-US" sz="1800" dirty="0" smtClean="0">
                <a:latin typeface="Calibri" panose="020F0502020204030204" pitchFamily="34" charset="0"/>
                <a:cs typeface="Calibri" panose="020F0502020204030204" pitchFamily="34" charset="0"/>
              </a:rPr>
              <a:t> 3.</a:t>
            </a:r>
            <a:r>
              <a:rPr lang="en-US" sz="1800" dirty="0">
                <a:latin typeface="Calibri" panose="020F0502020204030204" pitchFamily="34" charset="0"/>
                <a:cs typeface="Calibri" panose="020F0502020204030204" pitchFamily="34" charset="0"/>
              </a:rPr>
              <a:t> Enter all the marked </a:t>
            </a:r>
            <a:r>
              <a:rPr lang="en-US" sz="1800" dirty="0" smtClean="0">
                <a:latin typeface="Calibri" panose="020F0502020204030204" pitchFamily="34" charset="0"/>
                <a:cs typeface="Calibri" panose="020F0502020204030204" pitchFamily="34" charset="0"/>
              </a:rPr>
              <a:t>details</a:t>
            </a:r>
          </a:p>
          <a:p>
            <a:endParaRPr lang="en-US" sz="1800" dirty="0" smtClean="0">
              <a:latin typeface="Calibri" panose="020F0502020204030204" pitchFamily="34" charset="0"/>
              <a:cs typeface="Calibri" panose="020F0502020204030204" pitchFamily="34" charset="0"/>
            </a:endParaRPr>
          </a:p>
          <a:p>
            <a:r>
              <a:rPr lang="en-US" sz="1800" b="1" dirty="0" smtClean="0">
                <a:latin typeface="Calibri" panose="020F0502020204030204" pitchFamily="34" charset="0"/>
                <a:cs typeface="Calibri" panose="020F0502020204030204" pitchFamily="34" charset="0"/>
              </a:rPr>
              <a:t>Step</a:t>
            </a:r>
            <a:r>
              <a:rPr lang="en-US" sz="1800" dirty="0" smtClean="0">
                <a:latin typeface="Calibri" panose="020F0502020204030204" pitchFamily="34" charset="0"/>
                <a:cs typeface="Calibri" panose="020F0502020204030204" pitchFamily="34" charset="0"/>
              </a:rPr>
              <a:t> 4. Click </a:t>
            </a:r>
            <a:r>
              <a:rPr lang="en-US" sz="1800" dirty="0">
                <a:latin typeface="Calibri" panose="020F0502020204030204" pitchFamily="34" charset="0"/>
                <a:cs typeface="Calibri" panose="020F0502020204030204" pitchFamily="34" charset="0"/>
              </a:rPr>
              <a:t>Request Community </a:t>
            </a:r>
            <a:r>
              <a:rPr lang="en-US" sz="1800" dirty="0" smtClean="0">
                <a:latin typeface="Calibri" panose="020F0502020204030204" pitchFamily="34" charset="0"/>
                <a:cs typeface="Calibri" panose="020F0502020204030204" pitchFamily="34" charset="0"/>
              </a:rPr>
              <a:t>Edition</a:t>
            </a:r>
          </a:p>
          <a:p>
            <a:endParaRPr lang="en-US" sz="1800" dirty="0">
              <a:latin typeface="Calibri" panose="020F0502020204030204" pitchFamily="34" charset="0"/>
              <a:cs typeface="Calibri" panose="020F0502020204030204" pitchFamily="34" charset="0"/>
            </a:endParaRPr>
          </a:p>
          <a:p>
            <a:r>
              <a:rPr lang="en-US" sz="1800" b="1" dirty="0" smtClean="0">
                <a:latin typeface="Calibri" panose="020F0502020204030204" pitchFamily="34" charset="0"/>
                <a:cs typeface="Calibri" panose="020F0502020204030204" pitchFamily="34" charset="0"/>
              </a:rPr>
              <a:t>Step</a:t>
            </a:r>
            <a:r>
              <a:rPr lang="en-US" sz="1800" dirty="0" smtClean="0">
                <a:latin typeface="Calibri" panose="020F0502020204030204" pitchFamily="34" charset="0"/>
                <a:cs typeface="Calibri" panose="020F0502020204030204" pitchFamily="34" charset="0"/>
              </a:rPr>
              <a:t> 5.</a:t>
            </a:r>
            <a:r>
              <a:rPr lang="en-US" sz="1800" dirty="0">
                <a:latin typeface="Calibri" panose="020F0502020204030204" pitchFamily="34" charset="0"/>
                <a:cs typeface="Calibri" panose="020F0502020204030204" pitchFamily="34" charset="0"/>
              </a:rPr>
              <a:t> You will receive a mail below. Click on </a:t>
            </a:r>
            <a:r>
              <a:rPr lang="en-US" sz="1800" b="1" dirty="0">
                <a:latin typeface="Calibri" panose="020F0502020204030204" pitchFamily="34" charset="0"/>
                <a:cs typeface="Calibri" panose="020F0502020204030204" pitchFamily="34" charset="0"/>
              </a:rPr>
              <a:t>download community edition</a:t>
            </a:r>
            <a:r>
              <a:rPr lang="en-US" sz="1800" dirty="0">
                <a:latin typeface="Calibri" panose="020F0502020204030204" pitchFamily="34" charset="0"/>
                <a:cs typeface="Calibri" panose="020F0502020204030204" pitchFamily="34" charset="0"/>
              </a:rPr>
              <a:t> your download will begin</a:t>
            </a:r>
            <a:r>
              <a:rPr lang="en-US" sz="1800" dirty="0" smtClean="0">
                <a:latin typeface="Calibri" panose="020F0502020204030204" pitchFamily="34" charset="0"/>
                <a:cs typeface="Calibri" panose="020F0502020204030204" pitchFamily="34" charset="0"/>
              </a:rPr>
              <a:t>.</a:t>
            </a:r>
          </a:p>
          <a:p>
            <a:endParaRPr lang="en-US" sz="1800" dirty="0">
              <a:latin typeface="Calibri" panose="020F0502020204030204" pitchFamily="34" charset="0"/>
              <a:cs typeface="Calibri" panose="020F0502020204030204" pitchFamily="34" charset="0"/>
            </a:endParaRPr>
          </a:p>
          <a:p>
            <a:r>
              <a:rPr lang="en-US" sz="1800" b="1" dirty="0" smtClean="0">
                <a:latin typeface="Calibri" panose="020F0502020204030204" pitchFamily="34" charset="0"/>
                <a:cs typeface="Calibri" panose="020F0502020204030204" pitchFamily="34" charset="0"/>
              </a:rPr>
              <a:t>Step</a:t>
            </a:r>
            <a:r>
              <a:rPr lang="en-US" sz="1800" dirty="0" smtClean="0">
                <a:latin typeface="Calibri" panose="020F0502020204030204" pitchFamily="34" charset="0"/>
                <a:cs typeface="Calibri" panose="020F0502020204030204" pitchFamily="34" charset="0"/>
              </a:rPr>
              <a:t> 6. </a:t>
            </a:r>
            <a:r>
              <a:rPr lang="en-US" sz="1800" dirty="0">
                <a:latin typeface="Calibri" panose="020F0502020204030204" pitchFamily="34" charset="0"/>
                <a:cs typeface="Calibri" panose="020F0502020204030204" pitchFamily="34" charset="0"/>
              </a:rPr>
              <a:t>Once the download is completed click on the setup </a:t>
            </a:r>
            <a:r>
              <a:rPr lang="en-US" sz="1800" dirty="0" smtClean="0">
                <a:latin typeface="Calibri" panose="020F0502020204030204" pitchFamily="34" charset="0"/>
                <a:cs typeface="Calibri" panose="020F0502020204030204" pitchFamily="34" charset="0"/>
              </a:rPr>
              <a:t>file</a:t>
            </a:r>
          </a:p>
          <a:p>
            <a:endParaRPr lang="en-US" sz="1800" dirty="0">
              <a:latin typeface="Calibri" panose="020F0502020204030204" pitchFamily="34" charset="0"/>
              <a:cs typeface="Calibri" panose="020F0502020204030204" pitchFamily="34" charset="0"/>
            </a:endParaRPr>
          </a:p>
          <a:p>
            <a:r>
              <a:rPr lang="en-US" sz="1800" b="1" dirty="0" smtClean="0">
                <a:latin typeface="Calibri" panose="020F0502020204030204" pitchFamily="34" charset="0"/>
                <a:cs typeface="Calibri" panose="020F0502020204030204" pitchFamily="34" charset="0"/>
              </a:rPr>
              <a:t>Step</a:t>
            </a:r>
            <a:r>
              <a:rPr lang="en-US" sz="1800" dirty="0" smtClean="0">
                <a:latin typeface="Calibri" panose="020F0502020204030204" pitchFamily="34" charset="0"/>
                <a:cs typeface="Calibri" panose="020F0502020204030204" pitchFamily="34" charset="0"/>
              </a:rPr>
              <a:t> 7. </a:t>
            </a:r>
            <a:r>
              <a:rPr lang="en-US" sz="1800" dirty="0">
                <a:latin typeface="Calibri" panose="020F0502020204030204" pitchFamily="34" charset="0"/>
                <a:cs typeface="Calibri" panose="020F0502020204030204" pitchFamily="34" charset="0"/>
              </a:rPr>
              <a:t>Once the software is installed click on start free trial</a:t>
            </a:r>
            <a:endParaRPr lang="en-US" sz="1800" dirty="0" smtClean="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622037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882" y="-10333"/>
            <a:ext cx="11013735" cy="863601"/>
          </a:xfrm>
        </p:spPr>
        <p:txBody>
          <a:bodyPr anchor="ctr"/>
          <a:lstStyle/>
          <a:p>
            <a:r>
              <a:rPr lang="en-US" b="1" dirty="0"/>
              <a:t>Applications of  RPA</a:t>
            </a:r>
            <a:endParaRPr lang="en-US" dirty="0"/>
          </a:p>
        </p:txBody>
      </p:sp>
      <p:sp>
        <p:nvSpPr>
          <p:cNvPr id="3" name="Date Placeholder 2"/>
          <p:cNvSpPr>
            <a:spLocks noGrp="1"/>
          </p:cNvSpPr>
          <p:nvPr>
            <p:ph type="dt" sz="half" idx="14"/>
          </p:nvPr>
        </p:nvSpPr>
        <p:spPr/>
        <p:txBody>
          <a:bodyPr/>
          <a:lstStyle/>
          <a:p>
            <a:pPr>
              <a:lnSpc>
                <a:spcPct val="85000"/>
              </a:lnSpc>
            </a:pPr>
            <a:r>
              <a:rPr lang="en-US" dirty="0">
                <a:solidFill>
                  <a:srgbClr val="0070AD"/>
                </a:solidFill>
              </a:rPr>
              <a:t>Group IT Testing Dashboard</a:t>
            </a: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a:solidFill>
                  <a:srgbClr val="E6E7E7">
                    <a:lumMod val="50000"/>
                  </a:srgbClr>
                </a:solidFill>
              </a:rPr>
              <a:pPr/>
              <a:t>12</a:t>
            </a:fld>
            <a:endParaRPr lang="en-US" dirty="0">
              <a:solidFill>
                <a:srgbClr val="E6E7E7">
                  <a:lumMod val="50000"/>
                </a:srgbClr>
              </a:solidFill>
            </a:endParaRPr>
          </a:p>
        </p:txBody>
      </p:sp>
      <p:sp>
        <p:nvSpPr>
          <p:cNvPr id="6" name="TextBox 5"/>
          <p:cNvSpPr txBox="1"/>
          <p:nvPr/>
        </p:nvSpPr>
        <p:spPr>
          <a:xfrm>
            <a:off x="303970" y="961281"/>
            <a:ext cx="10511757" cy="1631216"/>
          </a:xfrm>
          <a:prstGeom prst="rect">
            <a:avLst/>
          </a:prstGeom>
          <a:noFill/>
        </p:spPr>
        <p:txBody>
          <a:bodyPr wrap="square" rtlCol="0">
            <a:spAutoFit/>
          </a:bodyPr>
          <a:lstStyle/>
          <a:p>
            <a:r>
              <a:rPr lang="en-US" sz="1800" dirty="0">
                <a:latin typeface="Calibri" panose="020F0502020204030204" pitchFamily="34" charset="0"/>
                <a:cs typeface="Calibri" panose="020F0502020204030204" pitchFamily="34" charset="0"/>
              </a:rPr>
              <a:t>Multinational companies such as Deloitte, Accenture, Capgemini and many more, use Robotic Process Automation in their day to day tasks. These companies, benefit by using RPA as it provides, accurate, reliable, consistent outputs with high productivity rates. So, now let me tell you the top applications of RPA so that you know the various sectors in which RPA can be used.</a:t>
            </a:r>
          </a:p>
          <a:p>
            <a:r>
              <a:rPr lang="en-US" sz="1400" dirty="0"/>
              <a:t/>
            </a:r>
            <a:br>
              <a:rPr lang="en-US" sz="1400" dirty="0"/>
            </a:br>
            <a:endParaRPr lang="en-US" sz="1400" dirty="0" smtClean="0"/>
          </a:p>
        </p:txBody>
      </p:sp>
      <p:pic>
        <p:nvPicPr>
          <p:cNvPr id="51204" name="Picture 4" descr="Applications of RPA - What is RPA - Edurek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83240" y="2565918"/>
            <a:ext cx="4884016" cy="3403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96954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882" y="-10333"/>
            <a:ext cx="11013735" cy="863601"/>
          </a:xfrm>
        </p:spPr>
        <p:txBody>
          <a:bodyPr anchor="ctr"/>
          <a:lstStyle/>
          <a:p>
            <a:r>
              <a:rPr lang="en-US" b="1" dirty="0" smtClean="0"/>
              <a:t>Use Case Implementation</a:t>
            </a:r>
            <a:endParaRPr lang="en-US" dirty="0"/>
          </a:p>
        </p:txBody>
      </p:sp>
      <p:sp>
        <p:nvSpPr>
          <p:cNvPr id="3" name="Date Placeholder 2"/>
          <p:cNvSpPr>
            <a:spLocks noGrp="1"/>
          </p:cNvSpPr>
          <p:nvPr>
            <p:ph type="dt" sz="half" idx="14"/>
          </p:nvPr>
        </p:nvSpPr>
        <p:spPr/>
        <p:txBody>
          <a:bodyPr/>
          <a:lstStyle/>
          <a:p>
            <a:pPr>
              <a:lnSpc>
                <a:spcPct val="85000"/>
              </a:lnSpc>
            </a:pPr>
            <a:r>
              <a:rPr lang="en-US" dirty="0">
                <a:solidFill>
                  <a:srgbClr val="0070AD"/>
                </a:solidFill>
              </a:rPr>
              <a:t>Group IT Testing Dashboard</a:t>
            </a: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a:solidFill>
                  <a:srgbClr val="E6E7E7">
                    <a:lumMod val="50000"/>
                  </a:srgbClr>
                </a:solidFill>
              </a:rPr>
              <a:pPr/>
              <a:t>13</a:t>
            </a:fld>
            <a:endParaRPr lang="en-US" dirty="0">
              <a:solidFill>
                <a:srgbClr val="E6E7E7">
                  <a:lumMod val="50000"/>
                </a:srgbClr>
              </a:solidFill>
            </a:endParaRPr>
          </a:p>
        </p:txBody>
      </p:sp>
      <p:sp>
        <p:nvSpPr>
          <p:cNvPr id="6" name="TextBox 5"/>
          <p:cNvSpPr txBox="1"/>
          <p:nvPr/>
        </p:nvSpPr>
        <p:spPr>
          <a:xfrm>
            <a:off x="303970" y="961281"/>
            <a:ext cx="10511757" cy="769441"/>
          </a:xfrm>
          <a:prstGeom prst="rect">
            <a:avLst/>
          </a:prstGeom>
          <a:noFill/>
        </p:spPr>
        <p:txBody>
          <a:bodyPr wrap="square" rtlCol="0">
            <a:spAutoFit/>
          </a:bodyPr>
          <a:lstStyle/>
          <a:p>
            <a:r>
              <a:rPr lang="en-GB" sz="1600" b="1" dirty="0" smtClean="0"/>
              <a:t>E-Collaborative</a:t>
            </a:r>
            <a:r>
              <a:rPr lang="en-US" sz="1600" b="1" dirty="0"/>
              <a:t> </a:t>
            </a:r>
            <a:r>
              <a:rPr lang="en-GB" sz="1600" b="1" dirty="0" smtClean="0"/>
              <a:t>Sanity </a:t>
            </a:r>
            <a:r>
              <a:rPr lang="en-GB" sz="1600" b="1" dirty="0"/>
              <a:t>Testing</a:t>
            </a:r>
            <a:endParaRPr lang="en-US" sz="1600" b="1" dirty="0"/>
          </a:p>
          <a:p>
            <a:r>
              <a:rPr lang="en-US" sz="1400" dirty="0"/>
              <a:t/>
            </a:r>
            <a:br>
              <a:rPr lang="en-US" sz="1400" dirty="0"/>
            </a:br>
            <a:endParaRPr lang="en-US" sz="1400" dirty="0" smtClean="0"/>
          </a:p>
        </p:txBody>
      </p:sp>
      <p:sp>
        <p:nvSpPr>
          <p:cNvPr id="7" name="TextBox 6"/>
          <p:cNvSpPr txBox="1"/>
          <p:nvPr/>
        </p:nvSpPr>
        <p:spPr>
          <a:xfrm>
            <a:off x="294341" y="1362160"/>
            <a:ext cx="11240815" cy="1415772"/>
          </a:xfrm>
          <a:prstGeom prst="rect">
            <a:avLst/>
          </a:prstGeom>
          <a:noFill/>
        </p:spPr>
        <p:txBody>
          <a:bodyPr wrap="square" rtlCol="0">
            <a:spAutoFit/>
          </a:bodyPr>
          <a:lstStyle/>
          <a:p>
            <a:pPr marL="342900" indent="-342900">
              <a:buAutoNum type="arabicPeriod"/>
            </a:pPr>
            <a:r>
              <a:rPr lang="en-GB" sz="1800" b="1" dirty="0" smtClean="0">
                <a:latin typeface="Calibri" panose="020F0502020204030204" pitchFamily="34" charset="0"/>
                <a:cs typeface="Calibri" panose="020F0502020204030204" pitchFamily="34" charset="0"/>
              </a:rPr>
              <a:t>Introduction</a:t>
            </a:r>
          </a:p>
          <a:p>
            <a:r>
              <a:rPr lang="en-GB" sz="1800" dirty="0" smtClean="0">
                <a:latin typeface="Calibri" panose="020F0502020204030204" pitchFamily="34" charset="0"/>
                <a:cs typeface="Calibri" panose="020F0502020204030204" pitchFamily="34" charset="0"/>
              </a:rPr>
              <a:t>	E </a:t>
            </a:r>
            <a:r>
              <a:rPr lang="en-GB" sz="1800" dirty="0">
                <a:latin typeface="Calibri" panose="020F0502020204030204" pitchFamily="34" charset="0"/>
                <a:cs typeface="Calibri" panose="020F0502020204030204" pitchFamily="34" charset="0"/>
              </a:rPr>
              <a:t>– Collaborative is an application which helps in collaboration of Cap Gemini with its internal and external </a:t>
            </a:r>
            <a:r>
              <a:rPr lang="en-GB" sz="1800" dirty="0" smtClean="0">
                <a:latin typeface="Calibri" panose="020F0502020204030204" pitchFamily="34" charset="0"/>
                <a:cs typeface="Calibri" panose="020F0502020204030204" pitchFamily="34" charset="0"/>
              </a:rPr>
              <a:t>	clients </a:t>
            </a:r>
            <a:r>
              <a:rPr lang="en-GB" sz="1800" dirty="0">
                <a:latin typeface="Calibri" panose="020F0502020204030204" pitchFamily="34" charset="0"/>
                <a:cs typeface="Calibri" panose="020F0502020204030204" pitchFamily="34" charset="0"/>
              </a:rPr>
              <a:t>.This application allows user to share , upload , track the progress , save code to SVN repository  </a:t>
            </a:r>
            <a:r>
              <a:rPr lang="en-GB" sz="1800" dirty="0" smtClean="0">
                <a:latin typeface="Calibri" panose="020F0502020204030204" pitchFamily="34" charset="0"/>
                <a:cs typeface="Calibri" panose="020F0502020204030204" pitchFamily="34" charset="0"/>
              </a:rPr>
              <a:t>	using </a:t>
            </a:r>
            <a:r>
              <a:rPr lang="en-GB" sz="1800" dirty="0">
                <a:latin typeface="Calibri" panose="020F0502020204030204" pitchFamily="34" charset="0"/>
                <a:cs typeface="Calibri" panose="020F0502020204030204" pitchFamily="34" charset="0"/>
              </a:rPr>
              <a:t>a common site which is accessible by both Cap Gemini and its clients. </a:t>
            </a:r>
            <a:endParaRPr lang="en-US" sz="1800" dirty="0">
              <a:latin typeface="Calibri" panose="020F0502020204030204" pitchFamily="34" charset="0"/>
              <a:cs typeface="Calibri" panose="020F0502020204030204" pitchFamily="34" charset="0"/>
            </a:endParaRPr>
          </a:p>
          <a:p>
            <a:endParaRPr lang="en-US" sz="1400" dirty="0" smtClean="0"/>
          </a:p>
        </p:txBody>
      </p:sp>
      <p:sp>
        <p:nvSpPr>
          <p:cNvPr id="8" name="TextBox 7"/>
          <p:cNvSpPr txBox="1"/>
          <p:nvPr/>
        </p:nvSpPr>
        <p:spPr>
          <a:xfrm rot="10800000" flipV="1">
            <a:off x="225000" y="3029998"/>
            <a:ext cx="11196617" cy="2800767"/>
          </a:xfrm>
          <a:prstGeom prst="rect">
            <a:avLst/>
          </a:prstGeom>
          <a:noFill/>
        </p:spPr>
        <p:txBody>
          <a:bodyPr wrap="square" rtlCol="0">
            <a:spAutoFit/>
          </a:bodyPr>
          <a:lstStyle/>
          <a:p>
            <a:r>
              <a:rPr lang="en-GB" sz="1800" b="1" dirty="0">
                <a:latin typeface="Calibri" panose="020F0502020204030204" pitchFamily="34" charset="0"/>
                <a:cs typeface="Calibri" panose="020F0502020204030204" pitchFamily="34" charset="0"/>
              </a:rPr>
              <a:t>2. Problem </a:t>
            </a:r>
            <a:r>
              <a:rPr lang="en-GB" sz="1800" b="1" dirty="0" smtClean="0">
                <a:latin typeface="Calibri" panose="020F0502020204030204" pitchFamily="34" charset="0"/>
                <a:cs typeface="Calibri" panose="020F0502020204030204" pitchFamily="34" charset="0"/>
              </a:rPr>
              <a:t>Statement</a:t>
            </a:r>
          </a:p>
          <a:p>
            <a:r>
              <a:rPr lang="en-GB" sz="1800" dirty="0" smtClean="0">
                <a:latin typeface="Calibri" panose="020F0502020204030204" pitchFamily="34" charset="0"/>
                <a:cs typeface="Calibri" panose="020F0502020204030204" pitchFamily="34" charset="0"/>
              </a:rPr>
              <a:t>	E-collaborative </a:t>
            </a:r>
            <a:r>
              <a:rPr lang="en-GB" sz="1800" dirty="0">
                <a:latin typeface="Calibri" panose="020F0502020204030204" pitchFamily="34" charset="0"/>
                <a:cs typeface="Calibri" panose="020F0502020204030204" pitchFamily="34" charset="0"/>
              </a:rPr>
              <a:t>Testing team needs to perform sanity testing for different sites on weekends /weekdays </a:t>
            </a:r>
            <a:r>
              <a:rPr lang="en-GB" sz="1800" dirty="0" smtClean="0">
                <a:latin typeface="Calibri" panose="020F0502020204030204" pitchFamily="34" charset="0"/>
                <a:cs typeface="Calibri" panose="020F0502020204030204" pitchFamily="34" charset="0"/>
              </a:rPr>
              <a:t>	based </a:t>
            </a:r>
            <a:r>
              <a:rPr lang="en-GB" sz="1800" dirty="0">
                <a:latin typeface="Calibri" panose="020F0502020204030204" pitchFamily="34" charset="0"/>
                <a:cs typeface="Calibri" panose="020F0502020204030204" pitchFamily="34" charset="0"/>
              </a:rPr>
              <a:t>on the demand from the client, which requires a lot of human efforts and may take up to 60 </a:t>
            </a:r>
            <a:r>
              <a:rPr lang="en-GB" sz="1800" dirty="0" smtClean="0">
                <a:latin typeface="Calibri" panose="020F0502020204030204" pitchFamily="34" charset="0"/>
                <a:cs typeface="Calibri" panose="020F0502020204030204" pitchFamily="34" charset="0"/>
              </a:rPr>
              <a:t>	minutes </a:t>
            </a:r>
            <a:r>
              <a:rPr lang="en-GB" sz="1800" dirty="0">
                <a:latin typeface="Calibri" panose="020F0502020204030204" pitchFamily="34" charset="0"/>
                <a:cs typeface="Calibri" panose="020F0502020204030204" pitchFamily="34" charset="0"/>
              </a:rPr>
              <a:t>for a single site. For E.g. if 3 sites are needed to be test it will take 60*3 = 180 minutes. The </a:t>
            </a:r>
            <a:r>
              <a:rPr lang="en-GB" sz="1800" dirty="0" smtClean="0">
                <a:latin typeface="Calibri" panose="020F0502020204030204" pitchFamily="34" charset="0"/>
                <a:cs typeface="Calibri" panose="020F0502020204030204" pitchFamily="34" charset="0"/>
              </a:rPr>
              <a:t>	number </a:t>
            </a:r>
            <a:r>
              <a:rPr lang="en-GB" sz="1800" dirty="0">
                <a:latin typeface="Calibri" panose="020F0502020204030204" pitchFamily="34" charset="0"/>
                <a:cs typeface="Calibri" panose="020F0502020204030204" pitchFamily="34" charset="0"/>
              </a:rPr>
              <a:t>of sites and frequency for this testing may get increased in future.</a:t>
            </a:r>
            <a:endParaRPr lang="en-US" sz="1800" dirty="0">
              <a:latin typeface="Calibri" panose="020F0502020204030204" pitchFamily="34" charset="0"/>
              <a:cs typeface="Calibri" panose="020F0502020204030204" pitchFamily="34" charset="0"/>
            </a:endParaRPr>
          </a:p>
          <a:p>
            <a:r>
              <a:rPr lang="en-GB" sz="1800" dirty="0" smtClean="0">
                <a:latin typeface="Calibri" panose="020F0502020204030204" pitchFamily="34" charset="0"/>
                <a:cs typeface="Calibri" panose="020F0502020204030204" pitchFamily="34" charset="0"/>
              </a:rPr>
              <a:t>	The </a:t>
            </a:r>
            <a:r>
              <a:rPr lang="en-GB" sz="1800" dirty="0">
                <a:latin typeface="Calibri" panose="020F0502020204030204" pitchFamily="34" charset="0"/>
                <a:cs typeface="Calibri" panose="020F0502020204030204" pitchFamily="34" charset="0"/>
              </a:rPr>
              <a:t>solution is to develop a robot which will reduce human efforts, saves time and increases the </a:t>
            </a:r>
            <a:r>
              <a:rPr lang="en-GB" sz="1800" dirty="0" smtClean="0">
                <a:latin typeface="Calibri" panose="020F0502020204030204" pitchFamily="34" charset="0"/>
                <a:cs typeface="Calibri" panose="020F0502020204030204" pitchFamily="34" charset="0"/>
              </a:rPr>
              <a:t>	accuracy</a:t>
            </a:r>
            <a:r>
              <a:rPr lang="en-GB" sz="1800" dirty="0">
                <a:latin typeface="Calibri" panose="020F0502020204030204" pitchFamily="34" charset="0"/>
                <a:cs typeface="Calibri" panose="020F0502020204030204" pitchFamily="34" charset="0"/>
              </a:rPr>
              <a:t>. The high level explanation of the task performed by robot is to filter out the mail based on the </a:t>
            </a:r>
            <a:r>
              <a:rPr lang="en-GB" sz="1800" dirty="0" smtClean="0">
                <a:latin typeface="Calibri" panose="020F0502020204030204" pitchFamily="34" charset="0"/>
                <a:cs typeface="Calibri" panose="020F0502020204030204" pitchFamily="34" charset="0"/>
              </a:rPr>
              <a:t>	subject </a:t>
            </a:r>
            <a:r>
              <a:rPr lang="en-GB" sz="1800" dirty="0">
                <a:latin typeface="Calibri" panose="020F0502020204030204" pitchFamily="34" charset="0"/>
                <a:cs typeface="Calibri" panose="020F0502020204030204" pitchFamily="34" charset="0"/>
              </a:rPr>
              <a:t>line and triggering the UFT to run the automated scripts on the sites mentioned in the requested </a:t>
            </a:r>
            <a:r>
              <a:rPr lang="en-GB" sz="1800" dirty="0" smtClean="0">
                <a:latin typeface="Calibri" panose="020F0502020204030204" pitchFamily="34" charset="0"/>
                <a:cs typeface="Calibri" panose="020F0502020204030204" pitchFamily="34" charset="0"/>
              </a:rPr>
              <a:t>	mail </a:t>
            </a:r>
            <a:r>
              <a:rPr lang="en-GB" sz="1800" dirty="0">
                <a:latin typeface="Calibri" panose="020F0502020204030204" pitchFamily="34" charset="0"/>
                <a:cs typeface="Calibri" panose="020F0502020204030204" pitchFamily="34" charset="0"/>
              </a:rPr>
              <a:t>and publish the results.</a:t>
            </a:r>
            <a:endParaRPr lang="en-US" sz="1800" dirty="0">
              <a:latin typeface="Calibri" panose="020F0502020204030204" pitchFamily="34" charset="0"/>
              <a:cs typeface="Calibri" panose="020F0502020204030204" pitchFamily="34" charset="0"/>
            </a:endParaRPr>
          </a:p>
          <a:p>
            <a:endParaRPr lang="en-US" sz="1400" dirty="0" smtClean="0"/>
          </a:p>
        </p:txBody>
      </p:sp>
      <p:graphicFrame>
        <p:nvGraphicFramePr>
          <p:cNvPr id="10" name="Object 9"/>
          <p:cNvGraphicFramePr>
            <a:graphicFrameLocks noChangeAspect="1"/>
          </p:cNvGraphicFramePr>
          <p:nvPr>
            <p:extLst>
              <p:ext uri="{D42A27DB-BD31-4B8C-83A1-F6EECF244321}">
                <p14:modId xmlns:p14="http://schemas.microsoft.com/office/powerpoint/2010/main" val="3944710559"/>
              </p:ext>
            </p:extLst>
          </p:nvPr>
        </p:nvGraphicFramePr>
        <p:xfrm>
          <a:off x="4645448" y="5697069"/>
          <a:ext cx="914400" cy="771525"/>
        </p:xfrm>
        <a:graphic>
          <a:graphicData uri="http://schemas.openxmlformats.org/presentationml/2006/ole">
            <mc:AlternateContent xmlns:mc="http://schemas.openxmlformats.org/markup-compatibility/2006">
              <mc:Choice xmlns:v="urn:schemas-microsoft-com:vml" Requires="v">
                <p:oleObj spid="_x0000_s48137" name="Document" showAsIcon="1" r:id="rId3" imgW="914400" imgH="771480" progId="Word.Document.12">
                  <p:embed/>
                </p:oleObj>
              </mc:Choice>
              <mc:Fallback>
                <p:oleObj name="Document" showAsIcon="1" r:id="rId3" imgW="914400" imgH="771480" progId="Word.Document.12">
                  <p:embed/>
                  <p:pic>
                    <p:nvPicPr>
                      <p:cNvPr id="0" name=""/>
                      <p:cNvPicPr/>
                      <p:nvPr/>
                    </p:nvPicPr>
                    <p:blipFill>
                      <a:blip r:embed="rId4"/>
                      <a:stretch>
                        <a:fillRect/>
                      </a:stretch>
                    </p:blipFill>
                    <p:spPr>
                      <a:xfrm>
                        <a:off x="4645448" y="5697069"/>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1218110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882" y="-10333"/>
            <a:ext cx="11013735" cy="863601"/>
          </a:xfrm>
        </p:spPr>
        <p:txBody>
          <a:bodyPr anchor="ctr"/>
          <a:lstStyle/>
          <a:p>
            <a:r>
              <a:rPr lang="en-GB" b="1" dirty="0" smtClean="0"/>
              <a:t>Flowchart </a:t>
            </a:r>
            <a:endParaRPr lang="en-US" dirty="0"/>
          </a:p>
        </p:txBody>
      </p:sp>
      <p:sp>
        <p:nvSpPr>
          <p:cNvPr id="3" name="Date Placeholder 2"/>
          <p:cNvSpPr>
            <a:spLocks noGrp="1"/>
          </p:cNvSpPr>
          <p:nvPr>
            <p:ph type="dt" sz="half" idx="14"/>
          </p:nvPr>
        </p:nvSpPr>
        <p:spPr/>
        <p:txBody>
          <a:bodyPr/>
          <a:lstStyle/>
          <a:p>
            <a:pPr>
              <a:lnSpc>
                <a:spcPct val="85000"/>
              </a:lnSpc>
            </a:pPr>
            <a:r>
              <a:rPr lang="en-US" dirty="0">
                <a:solidFill>
                  <a:srgbClr val="0070AD"/>
                </a:solidFill>
              </a:rPr>
              <a:t>Group IT Testing Dashboard</a:t>
            </a: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a:solidFill>
                  <a:srgbClr val="E6E7E7">
                    <a:lumMod val="50000"/>
                  </a:srgbClr>
                </a:solidFill>
              </a:rPr>
              <a:pPr/>
              <a:t>14</a:t>
            </a:fld>
            <a:endParaRPr lang="en-US" dirty="0">
              <a:solidFill>
                <a:srgbClr val="E6E7E7">
                  <a:lumMod val="50000"/>
                </a:srgbClr>
              </a:solidFill>
            </a:endParaRPr>
          </a:p>
        </p:txBody>
      </p:sp>
      <p:pic>
        <p:nvPicPr>
          <p:cNvPr id="13" name="Picture 12"/>
          <p:cNvPicPr/>
          <p:nvPr/>
        </p:nvPicPr>
        <p:blipFill>
          <a:blip r:embed="rId2"/>
          <a:stretch>
            <a:fillRect/>
          </a:stretch>
        </p:blipFill>
        <p:spPr>
          <a:xfrm>
            <a:off x="1190349" y="707572"/>
            <a:ext cx="9448800" cy="5357620"/>
          </a:xfrm>
          <a:prstGeom prst="rect">
            <a:avLst/>
          </a:prstGeom>
          <a:ln w="3175">
            <a:solidFill>
              <a:schemeClr val="tx1"/>
            </a:solidFill>
          </a:ln>
        </p:spPr>
      </p:pic>
    </p:spTree>
    <p:extLst>
      <p:ext uri="{BB962C8B-B14F-4D97-AF65-F5344CB8AC3E}">
        <p14:creationId xmlns:p14="http://schemas.microsoft.com/office/powerpoint/2010/main" val="164921702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882" y="-10333"/>
            <a:ext cx="11013735" cy="863601"/>
          </a:xfrm>
        </p:spPr>
        <p:txBody>
          <a:bodyPr anchor="ctr"/>
          <a:lstStyle/>
          <a:p>
            <a:r>
              <a:rPr lang="en-GB" b="1" dirty="0"/>
              <a:t>Process Flowchart AS-IS</a:t>
            </a:r>
            <a:endParaRPr lang="en-US" dirty="0"/>
          </a:p>
        </p:txBody>
      </p:sp>
      <p:sp>
        <p:nvSpPr>
          <p:cNvPr id="3" name="Date Placeholder 2"/>
          <p:cNvSpPr>
            <a:spLocks noGrp="1"/>
          </p:cNvSpPr>
          <p:nvPr>
            <p:ph type="dt" sz="half" idx="14"/>
          </p:nvPr>
        </p:nvSpPr>
        <p:spPr/>
        <p:txBody>
          <a:bodyPr/>
          <a:lstStyle/>
          <a:p>
            <a:pPr>
              <a:lnSpc>
                <a:spcPct val="85000"/>
              </a:lnSpc>
            </a:pPr>
            <a:r>
              <a:rPr lang="en-US" dirty="0">
                <a:solidFill>
                  <a:srgbClr val="0070AD"/>
                </a:solidFill>
              </a:rPr>
              <a:t>Group IT Testing Dashboard</a:t>
            </a: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a:solidFill>
                  <a:srgbClr val="E6E7E7">
                    <a:lumMod val="50000"/>
                  </a:srgbClr>
                </a:solidFill>
              </a:rPr>
              <a:pPr/>
              <a:t>15</a:t>
            </a:fld>
            <a:endParaRPr lang="en-US" dirty="0">
              <a:solidFill>
                <a:srgbClr val="E6E7E7">
                  <a:lumMod val="50000"/>
                </a:srgbClr>
              </a:solidFill>
            </a:endParaRPr>
          </a:p>
        </p:txBody>
      </p:sp>
      <p:pic>
        <p:nvPicPr>
          <p:cNvPr id="52229" name="Picture 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61" y="2009087"/>
            <a:ext cx="7912160" cy="4276941"/>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sp>
        <p:nvSpPr>
          <p:cNvPr id="14" name="Rectangle 13"/>
          <p:cNvSpPr/>
          <p:nvPr/>
        </p:nvSpPr>
        <p:spPr>
          <a:xfrm>
            <a:off x="5009355" y="3756441"/>
            <a:ext cx="4009954" cy="74282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 name="Rectangle 14"/>
          <p:cNvSpPr/>
          <p:nvPr/>
        </p:nvSpPr>
        <p:spPr>
          <a:xfrm>
            <a:off x="5252270" y="2904944"/>
            <a:ext cx="1044621" cy="950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6" name="Rectangle 15"/>
          <p:cNvSpPr/>
          <p:nvPr/>
        </p:nvSpPr>
        <p:spPr>
          <a:xfrm>
            <a:off x="3000375" y="3203377"/>
            <a:ext cx="1280619" cy="30604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 name="TextBox 10"/>
          <p:cNvSpPr txBox="1"/>
          <p:nvPr/>
        </p:nvSpPr>
        <p:spPr>
          <a:xfrm>
            <a:off x="625533" y="846035"/>
            <a:ext cx="10578431" cy="707886"/>
          </a:xfrm>
          <a:prstGeom prst="rect">
            <a:avLst/>
          </a:prstGeom>
          <a:noFill/>
        </p:spPr>
        <p:txBody>
          <a:bodyPr wrap="square" rtlCol="0">
            <a:spAutoFit/>
          </a:bodyPr>
          <a:lstStyle/>
          <a:p>
            <a:r>
              <a:rPr lang="en-GB" sz="2000" b="1" dirty="0" smtClean="0">
                <a:latin typeface="Calibri" panose="020F0502020204030204" pitchFamily="34" charset="0"/>
                <a:cs typeface="Calibri" panose="020F0502020204030204" pitchFamily="34" charset="0"/>
              </a:rPr>
              <a:t>1. Reading </a:t>
            </a:r>
            <a:r>
              <a:rPr lang="en-GB" sz="2000" b="1" dirty="0">
                <a:latin typeface="Calibri" panose="020F0502020204030204" pitchFamily="34" charset="0"/>
                <a:cs typeface="Calibri" panose="020F0502020204030204" pitchFamily="34" charset="0"/>
              </a:rPr>
              <a:t>the unread mails in the Inbox folder of Outlook mail for present day with the frequency </a:t>
            </a:r>
            <a:r>
              <a:rPr lang="en-GB" sz="2000" b="1" dirty="0" smtClean="0">
                <a:latin typeface="Calibri" panose="020F0502020204030204" pitchFamily="34" charset="0"/>
                <a:cs typeface="Calibri" panose="020F0502020204030204" pitchFamily="34" charset="0"/>
              </a:rPr>
              <a:t>of </a:t>
            </a:r>
            <a:r>
              <a:rPr lang="en-GB" sz="2000" b="1" dirty="0">
                <a:latin typeface="Calibri" panose="020F0502020204030204" pitchFamily="34" charset="0"/>
                <a:cs typeface="Calibri" panose="020F0502020204030204" pitchFamily="34" charset="0"/>
              </a:rPr>
              <a:t>every 2 hours.</a:t>
            </a:r>
            <a:r>
              <a:rPr lang="en-GB" sz="2000" b="1" dirty="0" smtClean="0">
                <a:latin typeface="Calibri" panose="020F0502020204030204" pitchFamily="34" charset="0"/>
                <a:cs typeface="Calibri" panose="020F0502020204030204" pitchFamily="34" charset="0"/>
              </a:rPr>
              <a:t> </a:t>
            </a:r>
            <a:endParaRPr lang="en-US" sz="2000" dirty="0" smtClean="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486441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pPr>
              <a:lnSpc>
                <a:spcPct val="85000"/>
              </a:lnSpc>
            </a:pPr>
            <a:r>
              <a:rPr lang="en-US" dirty="0">
                <a:solidFill>
                  <a:srgbClr val="0070AD"/>
                </a:solidFill>
              </a:rPr>
              <a:t>Group IT Testing Dashboard</a:t>
            </a: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a:solidFill>
                  <a:srgbClr val="E6E7E7">
                    <a:lumMod val="50000"/>
                  </a:srgbClr>
                </a:solidFill>
              </a:rPr>
              <a:pPr/>
              <a:t>16</a:t>
            </a:fld>
            <a:endParaRPr lang="en-US" dirty="0">
              <a:solidFill>
                <a:srgbClr val="E6E7E7">
                  <a:lumMod val="50000"/>
                </a:srgbClr>
              </a:solidFill>
            </a:endParaRPr>
          </a:p>
        </p:txBody>
      </p:sp>
      <p:sp>
        <p:nvSpPr>
          <p:cNvPr id="16" name="Rectangle 15"/>
          <p:cNvSpPr/>
          <p:nvPr/>
        </p:nvSpPr>
        <p:spPr>
          <a:xfrm flipV="1">
            <a:off x="4174548" y="4923598"/>
            <a:ext cx="1280619" cy="14817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7" name="Rectangle 16"/>
          <p:cNvSpPr/>
          <p:nvPr/>
        </p:nvSpPr>
        <p:spPr>
          <a:xfrm>
            <a:off x="3446463" y="9882188"/>
            <a:ext cx="3125787" cy="36195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1" name="TextBox 10"/>
          <p:cNvSpPr txBox="1"/>
          <p:nvPr/>
        </p:nvSpPr>
        <p:spPr>
          <a:xfrm>
            <a:off x="407881" y="1102303"/>
            <a:ext cx="10578431" cy="987450"/>
          </a:xfrm>
          <a:prstGeom prst="rect">
            <a:avLst/>
          </a:prstGeom>
          <a:noFill/>
        </p:spPr>
        <p:txBody>
          <a:bodyPr wrap="square" rtlCol="0">
            <a:spAutoFit/>
          </a:bodyPr>
          <a:lstStyle/>
          <a:p>
            <a:pPr>
              <a:spcBef>
                <a:spcPts val="500"/>
              </a:spcBef>
              <a:spcAft>
                <a:spcPts val="500"/>
              </a:spcAft>
            </a:pPr>
            <a:r>
              <a:rPr lang="en-GB" sz="2000" b="1" dirty="0" smtClean="0">
                <a:latin typeface="Calibri" panose="020F0502020204030204" pitchFamily="34" charset="0"/>
                <a:cs typeface="Calibri" panose="020F0502020204030204" pitchFamily="34" charset="0"/>
              </a:rPr>
              <a:t>2. </a:t>
            </a:r>
            <a:r>
              <a:rPr lang="en-GB" sz="2000" b="1" dirty="0">
                <a:solidFill>
                  <a:srgbClr val="3B3B3B"/>
                </a:solidFill>
                <a:latin typeface="Calibri" panose="020F0502020204030204" pitchFamily="34" charset="0"/>
                <a:ea typeface="Arial" panose="020B0604020202020204" pitchFamily="34" charset="0"/>
                <a:cs typeface="Calibri" panose="020F0502020204030204" pitchFamily="34" charset="0"/>
              </a:rPr>
              <a:t>Filtering out the mail based on the pre-defined subject line “E-Collaborative Killing Test” based on time of request</a:t>
            </a:r>
            <a:endParaRPr lang="en-US" sz="2000" b="1" dirty="0">
              <a:solidFill>
                <a:srgbClr val="3B3B3B"/>
              </a:solidFill>
              <a:latin typeface="Calibri" panose="020F0502020204030204" pitchFamily="34" charset="0"/>
              <a:ea typeface="Arial" panose="020B0604020202020204" pitchFamily="34" charset="0"/>
              <a:cs typeface="Calibri" panose="020F0502020204030204" pitchFamily="34" charset="0"/>
            </a:endParaRPr>
          </a:p>
          <a:p>
            <a:endParaRPr lang="en-US" sz="1400" dirty="0" smtClean="0"/>
          </a:p>
        </p:txBody>
      </p:sp>
      <p:pic>
        <p:nvPicPr>
          <p:cNvPr id="18" name="Picture 17"/>
          <p:cNvPicPr/>
          <p:nvPr/>
        </p:nvPicPr>
        <p:blipFill>
          <a:blip r:embed="rId2"/>
          <a:stretch>
            <a:fillRect/>
          </a:stretch>
        </p:blipFill>
        <p:spPr>
          <a:xfrm>
            <a:off x="1695067" y="2250950"/>
            <a:ext cx="8325278" cy="4055773"/>
          </a:xfrm>
          <a:prstGeom prst="rect">
            <a:avLst/>
          </a:prstGeom>
          <a:ln w="3175">
            <a:solidFill>
              <a:schemeClr val="tx1"/>
            </a:solidFill>
          </a:ln>
        </p:spPr>
      </p:pic>
      <p:sp>
        <p:nvSpPr>
          <p:cNvPr id="19" name="Rectangle 18"/>
          <p:cNvSpPr/>
          <p:nvPr/>
        </p:nvSpPr>
        <p:spPr>
          <a:xfrm>
            <a:off x="3078709" y="3434251"/>
            <a:ext cx="1981664" cy="39999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0" name="Title 1"/>
          <p:cNvSpPr>
            <a:spLocks noGrp="1"/>
          </p:cNvSpPr>
          <p:nvPr>
            <p:ph type="title"/>
          </p:nvPr>
        </p:nvSpPr>
        <p:spPr>
          <a:xfrm>
            <a:off x="350838" y="238702"/>
            <a:ext cx="11013735" cy="863601"/>
          </a:xfrm>
        </p:spPr>
        <p:txBody>
          <a:bodyPr anchor="ctr"/>
          <a:lstStyle/>
          <a:p>
            <a:r>
              <a:rPr lang="en-GB" b="1" dirty="0"/>
              <a:t>Process Flowchart </a:t>
            </a:r>
            <a:r>
              <a:rPr lang="en-GB" b="1" dirty="0" smtClean="0"/>
              <a:t>AS-IS Continued…</a:t>
            </a:r>
            <a:endParaRPr lang="en-US" dirty="0"/>
          </a:p>
        </p:txBody>
      </p:sp>
    </p:spTree>
    <p:extLst>
      <p:ext uri="{BB962C8B-B14F-4D97-AF65-F5344CB8AC3E}">
        <p14:creationId xmlns:p14="http://schemas.microsoft.com/office/powerpoint/2010/main" val="37360143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pPr>
              <a:lnSpc>
                <a:spcPct val="85000"/>
              </a:lnSpc>
            </a:pPr>
            <a:r>
              <a:rPr lang="en-US" dirty="0">
                <a:solidFill>
                  <a:srgbClr val="0070AD"/>
                </a:solidFill>
              </a:rPr>
              <a:t>Group IT Testing Dashboard</a:t>
            </a: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a:solidFill>
                  <a:srgbClr val="E6E7E7">
                    <a:lumMod val="50000"/>
                  </a:srgbClr>
                </a:solidFill>
              </a:rPr>
              <a:pPr/>
              <a:t>17</a:t>
            </a:fld>
            <a:endParaRPr lang="en-US" dirty="0">
              <a:solidFill>
                <a:srgbClr val="E6E7E7">
                  <a:lumMod val="50000"/>
                </a:srgbClr>
              </a:solidFill>
            </a:endParaRPr>
          </a:p>
        </p:txBody>
      </p:sp>
      <p:sp>
        <p:nvSpPr>
          <p:cNvPr id="11" name="TextBox 10"/>
          <p:cNvSpPr txBox="1"/>
          <p:nvPr/>
        </p:nvSpPr>
        <p:spPr>
          <a:xfrm>
            <a:off x="568489" y="1161906"/>
            <a:ext cx="10578431" cy="646331"/>
          </a:xfrm>
          <a:prstGeom prst="rect">
            <a:avLst/>
          </a:prstGeom>
          <a:noFill/>
        </p:spPr>
        <p:txBody>
          <a:bodyPr wrap="square" rtlCol="0">
            <a:spAutoFit/>
          </a:bodyPr>
          <a:lstStyle/>
          <a:p>
            <a:r>
              <a:rPr lang="en-GB" sz="1800" b="1" dirty="0"/>
              <a:t>3</a:t>
            </a:r>
            <a:r>
              <a:rPr lang="en-GB" sz="1800" b="1" dirty="0" smtClean="0"/>
              <a:t>. </a:t>
            </a:r>
            <a:r>
              <a:rPr lang="en-GB" sz="1800" b="1" dirty="0"/>
              <a:t>Extracting all the site URL’s present in the mail body of the extracted mail.</a:t>
            </a:r>
            <a:endParaRPr lang="en-US" sz="1800" b="1" dirty="0"/>
          </a:p>
          <a:p>
            <a:endParaRPr lang="en-US" sz="1800" dirty="0" smtClean="0"/>
          </a:p>
        </p:txBody>
      </p:sp>
      <p:pic>
        <p:nvPicPr>
          <p:cNvPr id="18" name="Picture 17"/>
          <p:cNvPicPr/>
          <p:nvPr/>
        </p:nvPicPr>
        <p:blipFill>
          <a:blip r:embed="rId2"/>
          <a:stretch>
            <a:fillRect/>
          </a:stretch>
        </p:blipFill>
        <p:spPr>
          <a:xfrm>
            <a:off x="1424066" y="1867840"/>
            <a:ext cx="8759025" cy="4366705"/>
          </a:xfrm>
          <a:prstGeom prst="rect">
            <a:avLst/>
          </a:prstGeom>
          <a:ln w="3175">
            <a:solidFill>
              <a:schemeClr val="tx1"/>
            </a:solidFill>
          </a:ln>
        </p:spPr>
      </p:pic>
      <p:sp>
        <p:nvSpPr>
          <p:cNvPr id="19" name="Rectangle 18"/>
          <p:cNvSpPr/>
          <p:nvPr/>
        </p:nvSpPr>
        <p:spPr>
          <a:xfrm flipV="1">
            <a:off x="2041637" y="3584863"/>
            <a:ext cx="3865418" cy="71697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8" name="Title 1"/>
          <p:cNvSpPr>
            <a:spLocks noGrp="1"/>
          </p:cNvSpPr>
          <p:nvPr>
            <p:ph type="title"/>
          </p:nvPr>
        </p:nvSpPr>
        <p:spPr>
          <a:xfrm>
            <a:off x="350838" y="238702"/>
            <a:ext cx="11013735" cy="863601"/>
          </a:xfrm>
        </p:spPr>
        <p:txBody>
          <a:bodyPr anchor="ctr"/>
          <a:lstStyle/>
          <a:p>
            <a:r>
              <a:rPr lang="en-GB" b="1" dirty="0"/>
              <a:t>Process Flowchart </a:t>
            </a:r>
            <a:r>
              <a:rPr lang="en-GB" b="1" dirty="0" smtClean="0"/>
              <a:t>AS-IS Continued…</a:t>
            </a:r>
            <a:endParaRPr lang="en-US" dirty="0"/>
          </a:p>
        </p:txBody>
      </p:sp>
    </p:spTree>
    <p:extLst>
      <p:ext uri="{BB962C8B-B14F-4D97-AF65-F5344CB8AC3E}">
        <p14:creationId xmlns:p14="http://schemas.microsoft.com/office/powerpoint/2010/main" val="141219702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pPr>
              <a:lnSpc>
                <a:spcPct val="85000"/>
              </a:lnSpc>
            </a:pPr>
            <a:r>
              <a:rPr lang="en-US" dirty="0">
                <a:solidFill>
                  <a:srgbClr val="0070AD"/>
                </a:solidFill>
              </a:rPr>
              <a:t>Group IT Testing Dashboard</a:t>
            </a: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a:solidFill>
                  <a:srgbClr val="E6E7E7">
                    <a:lumMod val="50000"/>
                  </a:srgbClr>
                </a:solidFill>
              </a:rPr>
              <a:pPr/>
              <a:t>18</a:t>
            </a:fld>
            <a:endParaRPr lang="en-US" dirty="0">
              <a:solidFill>
                <a:srgbClr val="E6E7E7">
                  <a:lumMod val="50000"/>
                </a:srgbClr>
              </a:solidFill>
            </a:endParaRPr>
          </a:p>
        </p:txBody>
      </p:sp>
      <p:sp>
        <p:nvSpPr>
          <p:cNvPr id="11" name="TextBox 10"/>
          <p:cNvSpPr txBox="1"/>
          <p:nvPr/>
        </p:nvSpPr>
        <p:spPr>
          <a:xfrm>
            <a:off x="407881" y="1202617"/>
            <a:ext cx="10578431" cy="646331"/>
          </a:xfrm>
          <a:prstGeom prst="rect">
            <a:avLst/>
          </a:prstGeom>
          <a:noFill/>
        </p:spPr>
        <p:txBody>
          <a:bodyPr wrap="square" rtlCol="0">
            <a:spAutoFit/>
          </a:bodyPr>
          <a:lstStyle/>
          <a:p>
            <a:r>
              <a:rPr lang="en-GB" sz="1800" b="1" dirty="0">
                <a:latin typeface="Calibri" panose="020F0502020204030204" pitchFamily="34" charset="0"/>
                <a:cs typeface="Calibri" panose="020F0502020204030204" pitchFamily="34" charset="0"/>
              </a:rPr>
              <a:t>4</a:t>
            </a:r>
            <a:r>
              <a:rPr lang="en-GB" sz="1800" b="1" dirty="0" smtClean="0">
                <a:latin typeface="Calibri" panose="020F0502020204030204" pitchFamily="34" charset="0"/>
                <a:cs typeface="Calibri" panose="020F0502020204030204" pitchFamily="34" charset="0"/>
              </a:rPr>
              <a:t>. </a:t>
            </a:r>
            <a:r>
              <a:rPr lang="en-US" sz="1800" b="1" dirty="0">
                <a:latin typeface="Calibri" panose="020F0502020204030204" pitchFamily="34" charset="0"/>
                <a:cs typeface="Calibri" panose="020F0502020204030204" pitchFamily="34" charset="0"/>
              </a:rPr>
              <a:t>Write the current date, environment, URL, site name and Report folder name in the defined Input data sheet, based on the extraction done in Step 3.</a:t>
            </a:r>
          </a:p>
        </p:txBody>
      </p:sp>
      <p:pic>
        <p:nvPicPr>
          <p:cNvPr id="18" name="Picture 17"/>
          <p:cNvPicPr/>
          <p:nvPr/>
        </p:nvPicPr>
        <p:blipFill>
          <a:blip r:embed="rId2"/>
          <a:stretch>
            <a:fillRect/>
          </a:stretch>
        </p:blipFill>
        <p:spPr>
          <a:xfrm>
            <a:off x="1004341" y="2488367"/>
            <a:ext cx="9864550" cy="1927770"/>
          </a:xfrm>
          <a:prstGeom prst="rect">
            <a:avLst/>
          </a:prstGeom>
          <a:ln w="3175">
            <a:solidFill>
              <a:schemeClr val="tx1"/>
            </a:solidFill>
          </a:ln>
        </p:spPr>
      </p:pic>
      <p:sp>
        <p:nvSpPr>
          <p:cNvPr id="9" name="Title 1"/>
          <p:cNvSpPr>
            <a:spLocks noGrp="1"/>
          </p:cNvSpPr>
          <p:nvPr>
            <p:ph type="title"/>
          </p:nvPr>
        </p:nvSpPr>
        <p:spPr>
          <a:xfrm>
            <a:off x="350838" y="238702"/>
            <a:ext cx="11013735" cy="863601"/>
          </a:xfrm>
        </p:spPr>
        <p:txBody>
          <a:bodyPr anchor="ctr"/>
          <a:lstStyle/>
          <a:p>
            <a:r>
              <a:rPr lang="en-GB" b="1" dirty="0"/>
              <a:t>Process Flowchart </a:t>
            </a:r>
            <a:r>
              <a:rPr lang="en-GB" b="1" dirty="0" smtClean="0"/>
              <a:t>AS-IS Continued…</a:t>
            </a:r>
            <a:endParaRPr lang="en-US" dirty="0"/>
          </a:p>
        </p:txBody>
      </p:sp>
    </p:spTree>
    <p:extLst>
      <p:ext uri="{BB962C8B-B14F-4D97-AF65-F5344CB8AC3E}">
        <p14:creationId xmlns:p14="http://schemas.microsoft.com/office/powerpoint/2010/main" val="244737736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pPr>
              <a:lnSpc>
                <a:spcPct val="85000"/>
              </a:lnSpc>
            </a:pPr>
            <a:r>
              <a:rPr lang="en-US" dirty="0">
                <a:solidFill>
                  <a:srgbClr val="0070AD"/>
                </a:solidFill>
              </a:rPr>
              <a:t>Group IT Testing Dashboard</a:t>
            </a: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a:solidFill>
                  <a:srgbClr val="E6E7E7">
                    <a:lumMod val="50000"/>
                  </a:srgbClr>
                </a:solidFill>
              </a:rPr>
              <a:pPr/>
              <a:t>19</a:t>
            </a:fld>
            <a:endParaRPr lang="en-US" dirty="0">
              <a:solidFill>
                <a:srgbClr val="E6E7E7">
                  <a:lumMod val="50000"/>
                </a:srgbClr>
              </a:solidFill>
            </a:endParaRPr>
          </a:p>
        </p:txBody>
      </p:sp>
      <p:sp>
        <p:nvSpPr>
          <p:cNvPr id="11" name="TextBox 10"/>
          <p:cNvSpPr txBox="1"/>
          <p:nvPr/>
        </p:nvSpPr>
        <p:spPr>
          <a:xfrm>
            <a:off x="436556" y="1162811"/>
            <a:ext cx="10985061" cy="369332"/>
          </a:xfrm>
          <a:prstGeom prst="rect">
            <a:avLst/>
          </a:prstGeom>
          <a:noFill/>
        </p:spPr>
        <p:txBody>
          <a:bodyPr wrap="square" rtlCol="0">
            <a:spAutoFit/>
          </a:bodyPr>
          <a:lstStyle/>
          <a:p>
            <a:r>
              <a:rPr lang="en-GB" sz="1400" b="1" dirty="0" smtClean="0"/>
              <a:t>5. </a:t>
            </a:r>
            <a:r>
              <a:rPr lang="en-US" sz="1800" b="1" dirty="0">
                <a:latin typeface="Calibri" panose="020F0502020204030204" pitchFamily="34" charset="0"/>
                <a:cs typeface="Calibri" panose="020F0502020204030204" pitchFamily="34" charset="0"/>
              </a:rPr>
              <a:t>Double</a:t>
            </a:r>
            <a:r>
              <a:rPr lang="en-US" sz="1400" b="1" dirty="0"/>
              <a:t> Click the VB script Icon located in the desktop to trigger UFT Script Execution.</a:t>
            </a:r>
          </a:p>
        </p:txBody>
      </p:sp>
      <p:pic>
        <p:nvPicPr>
          <p:cNvPr id="18" name="Picture 17"/>
          <p:cNvPicPr/>
          <p:nvPr/>
        </p:nvPicPr>
        <p:blipFill>
          <a:blip r:embed="rId2"/>
          <a:stretch>
            <a:fillRect/>
          </a:stretch>
        </p:blipFill>
        <p:spPr>
          <a:xfrm>
            <a:off x="4242216" y="2240676"/>
            <a:ext cx="2878111" cy="2121465"/>
          </a:xfrm>
          <a:prstGeom prst="rect">
            <a:avLst/>
          </a:prstGeom>
        </p:spPr>
      </p:pic>
      <p:sp>
        <p:nvSpPr>
          <p:cNvPr id="9" name="Title 1"/>
          <p:cNvSpPr>
            <a:spLocks noGrp="1"/>
          </p:cNvSpPr>
          <p:nvPr>
            <p:ph type="title"/>
          </p:nvPr>
        </p:nvSpPr>
        <p:spPr/>
        <p:txBody>
          <a:bodyPr anchor="ctr"/>
          <a:lstStyle/>
          <a:p>
            <a:r>
              <a:rPr lang="en-GB" b="1" dirty="0"/>
              <a:t>Process Flowchart </a:t>
            </a:r>
            <a:r>
              <a:rPr lang="en-GB" b="1" dirty="0" smtClean="0"/>
              <a:t>AS-IS Continued…</a:t>
            </a:r>
            <a:endParaRPr lang="en-US" dirty="0"/>
          </a:p>
        </p:txBody>
      </p:sp>
    </p:spTree>
    <p:extLst>
      <p:ext uri="{BB962C8B-B14F-4D97-AF65-F5344CB8AC3E}">
        <p14:creationId xmlns:p14="http://schemas.microsoft.com/office/powerpoint/2010/main" val="1332315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chor="ctr"/>
          <a:lstStyle/>
          <a:p>
            <a:r>
              <a:rPr lang="en-US" dirty="0" smtClean="0"/>
              <a:t>Agenda</a:t>
            </a:r>
            <a:endParaRPr lang="en-US" dirty="0"/>
          </a:p>
        </p:txBody>
      </p:sp>
      <p:sp>
        <p:nvSpPr>
          <p:cNvPr id="12" name="Footer Placeholder 11"/>
          <p:cNvSpPr>
            <a:spLocks noGrp="1"/>
          </p:cNvSpPr>
          <p:nvPr>
            <p:ph type="ftr" sz="quarter" idx="26"/>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13" name="Slide Number Placeholder 12"/>
          <p:cNvSpPr>
            <a:spLocks noGrp="1"/>
          </p:cNvSpPr>
          <p:nvPr>
            <p:ph type="sldNum" sz="quarter" idx="27"/>
          </p:nvPr>
        </p:nvSpPr>
        <p:spPr/>
        <p:txBody>
          <a:bodyPr/>
          <a:lstStyle/>
          <a:p>
            <a:fld id="{DD205EFF-948D-4AF6-B54C-65639188FB5F}" type="slidenum">
              <a:rPr lang="en-US" smtClean="0">
                <a:solidFill>
                  <a:srgbClr val="E6E7E7">
                    <a:lumMod val="50000"/>
                  </a:srgbClr>
                </a:solidFill>
              </a:rPr>
              <a:pPr/>
              <a:t>2</a:t>
            </a:fld>
            <a:endParaRPr lang="en-US" dirty="0">
              <a:solidFill>
                <a:srgbClr val="E6E7E7">
                  <a:lumMod val="50000"/>
                </a:srgbClr>
              </a:solidFill>
            </a:endParaRPr>
          </a:p>
        </p:txBody>
      </p:sp>
      <p:sp>
        <p:nvSpPr>
          <p:cNvPr id="85" name="Text Placeholder 12">
            <a:extLst>
              <a:ext uri="{FF2B5EF4-FFF2-40B4-BE49-F238E27FC236}">
                <a16:creationId xmlns:a16="http://schemas.microsoft.com/office/drawing/2014/main" xmlns="" id="{9BD925F3-B02D-4954-A937-378831478ECE}"/>
              </a:ext>
            </a:extLst>
          </p:cNvPr>
          <p:cNvSpPr>
            <a:spLocks noGrp="1"/>
          </p:cNvSpPr>
          <p:nvPr>
            <p:ph type="body" sz="quarter" idx="11"/>
          </p:nvPr>
        </p:nvSpPr>
        <p:spPr>
          <a:xfrm>
            <a:off x="8073508" y="501128"/>
            <a:ext cx="3707435" cy="555448"/>
          </a:xfrm>
        </p:spPr>
        <p:txBody>
          <a:bodyPr/>
          <a:lstStyle/>
          <a:p>
            <a:r>
              <a:rPr lang="en-US" sz="1500" b="1" dirty="0" smtClean="0"/>
              <a:t>What is RPA?</a:t>
            </a:r>
            <a:endParaRPr lang="en-US" sz="1500" b="1" dirty="0"/>
          </a:p>
        </p:txBody>
      </p:sp>
      <p:sp>
        <p:nvSpPr>
          <p:cNvPr id="86" name="Text Placeholder 14">
            <a:extLst>
              <a:ext uri="{FF2B5EF4-FFF2-40B4-BE49-F238E27FC236}">
                <a16:creationId xmlns:a16="http://schemas.microsoft.com/office/drawing/2014/main" xmlns="" id="{EC913BF9-F1E4-4E14-A100-D6A3B6F55242}"/>
              </a:ext>
            </a:extLst>
          </p:cNvPr>
          <p:cNvSpPr>
            <a:spLocks noGrp="1"/>
          </p:cNvSpPr>
          <p:nvPr>
            <p:ph type="body" sz="quarter" idx="13"/>
          </p:nvPr>
        </p:nvSpPr>
        <p:spPr>
          <a:xfrm>
            <a:off x="8073506" y="1326628"/>
            <a:ext cx="3707435" cy="555448"/>
          </a:xfrm>
        </p:spPr>
        <p:txBody>
          <a:bodyPr/>
          <a:lstStyle/>
          <a:p>
            <a:r>
              <a:rPr lang="en-US" sz="1500" b="1" dirty="0" smtClean="0"/>
              <a:t>How RPA works?</a:t>
            </a:r>
          </a:p>
          <a:p>
            <a:pPr marL="285750" indent="-285750">
              <a:buFont typeface="Wingdings" panose="05000000000000000000" pitchFamily="2" charset="2"/>
              <a:buChar char="Ø"/>
            </a:pPr>
            <a:r>
              <a:rPr lang="en-US" sz="1200" b="1" dirty="0" smtClean="0"/>
              <a:t>How to get started with RPA</a:t>
            </a:r>
            <a:endParaRPr lang="en-US" sz="1200" b="1" dirty="0"/>
          </a:p>
        </p:txBody>
      </p:sp>
      <p:sp>
        <p:nvSpPr>
          <p:cNvPr id="87" name="Text Placeholder 15">
            <a:extLst>
              <a:ext uri="{FF2B5EF4-FFF2-40B4-BE49-F238E27FC236}">
                <a16:creationId xmlns:a16="http://schemas.microsoft.com/office/drawing/2014/main" xmlns="" id="{C89F5061-E54B-49D1-87EF-7EBD7BD3C688}"/>
              </a:ext>
            </a:extLst>
          </p:cNvPr>
          <p:cNvSpPr>
            <a:spLocks noGrp="1"/>
          </p:cNvSpPr>
          <p:nvPr>
            <p:ph type="body" sz="quarter" idx="14"/>
          </p:nvPr>
        </p:nvSpPr>
        <p:spPr>
          <a:xfrm>
            <a:off x="8089891" y="2303332"/>
            <a:ext cx="3674664" cy="555448"/>
          </a:xfrm>
        </p:spPr>
        <p:txBody>
          <a:bodyPr/>
          <a:lstStyle/>
          <a:p>
            <a:r>
              <a:rPr lang="en-US" sz="1500" b="1" dirty="0" smtClean="0"/>
              <a:t>RPA tools</a:t>
            </a:r>
          </a:p>
          <a:p>
            <a:pPr marL="285750" indent="-285750">
              <a:buFont typeface="Wingdings" panose="05000000000000000000" pitchFamily="2" charset="2"/>
              <a:buChar char="Ø"/>
            </a:pPr>
            <a:r>
              <a:rPr lang="en-US" sz="1200" b="1" dirty="0" smtClean="0"/>
              <a:t>Comparison of RPA tools</a:t>
            </a:r>
          </a:p>
          <a:p>
            <a:pPr marL="285750" indent="-285750">
              <a:buFont typeface="Wingdings" panose="05000000000000000000" pitchFamily="2" charset="2"/>
              <a:buChar char="Ø"/>
            </a:pPr>
            <a:r>
              <a:rPr lang="en-US" sz="1200" b="1" dirty="0" smtClean="0"/>
              <a:t>Market trend of RPA tools</a:t>
            </a:r>
            <a:endParaRPr lang="en-US" sz="1200" b="1" dirty="0"/>
          </a:p>
        </p:txBody>
      </p:sp>
      <p:sp>
        <p:nvSpPr>
          <p:cNvPr id="89" name="Text Placeholder 15">
            <a:extLst>
              <a:ext uri="{FF2B5EF4-FFF2-40B4-BE49-F238E27FC236}">
                <a16:creationId xmlns:a16="http://schemas.microsoft.com/office/drawing/2014/main" xmlns="" id="{B116F654-E288-4866-BC21-4BA2B96966E1}"/>
              </a:ext>
            </a:extLst>
          </p:cNvPr>
          <p:cNvSpPr txBox="1">
            <a:spLocks/>
          </p:cNvSpPr>
          <p:nvPr/>
        </p:nvSpPr>
        <p:spPr>
          <a:xfrm>
            <a:off x="8073507" y="3029884"/>
            <a:ext cx="3707435" cy="555303"/>
          </a:xfrm>
          <a:prstGeom prst="rect">
            <a:avLst/>
          </a:prstGeom>
        </p:spPr>
        <p:txBody>
          <a:bodyPr vert="horz" lIns="0" tIns="0" rIns="0" bIns="0" rtlCol="0" anchor="ctr">
            <a:noAutofit/>
          </a:bodyPr>
          <a:lstStyle>
            <a:lvl1pPr marL="0" indent="0" algn="l" defTabSz="914400" rtl="0" eaLnBrk="1" latinLnBrk="0" hangingPunct="1">
              <a:lnSpc>
                <a:spcPts val="16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233363" indent="-139700" algn="l" defTabSz="914400" rtl="0" eaLnBrk="1" latinLnBrk="0" hangingPunct="1">
              <a:lnSpc>
                <a:spcPct val="100000"/>
              </a:lnSpc>
              <a:spcBef>
                <a:spcPts val="600"/>
              </a:spcBef>
              <a:spcAft>
                <a:spcPts val="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accent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00" b="1" dirty="0" smtClean="0"/>
              <a:t>Applications of RPA</a:t>
            </a:r>
            <a:endParaRPr lang="en-US" sz="1500" b="1" dirty="0">
              <a:solidFill>
                <a:prstClr val="black"/>
              </a:solidFill>
            </a:endParaRPr>
          </a:p>
        </p:txBody>
      </p:sp>
      <p:grpSp>
        <p:nvGrpSpPr>
          <p:cNvPr id="90" name="Group 89">
            <a:extLst>
              <a:ext uri="{FF2B5EF4-FFF2-40B4-BE49-F238E27FC236}">
                <a16:creationId xmlns="" xmlns:a16="http://schemas.microsoft.com/office/drawing/2014/main" id="{4355C12A-73CF-432A-BF98-DD896761F988}"/>
              </a:ext>
            </a:extLst>
          </p:cNvPr>
          <p:cNvGrpSpPr/>
          <p:nvPr/>
        </p:nvGrpSpPr>
        <p:grpSpPr>
          <a:xfrm>
            <a:off x="7067006" y="472885"/>
            <a:ext cx="634560" cy="599554"/>
            <a:chOff x="6230532" y="1335315"/>
            <a:chExt cx="1204015" cy="1137596"/>
          </a:xfrm>
        </p:grpSpPr>
        <p:sp>
          <p:nvSpPr>
            <p:cNvPr id="91" name="Oval 20">
              <a:extLst>
                <a:ext uri="{FF2B5EF4-FFF2-40B4-BE49-F238E27FC236}">
                  <a16:creationId xmlns=""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92" name="Text Placeholder 14">
              <a:extLst>
                <a:ext uri="{FF2B5EF4-FFF2-40B4-BE49-F238E27FC236}">
                  <a16:creationId xmlns=""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1</a:t>
              </a:r>
            </a:p>
          </p:txBody>
        </p:sp>
      </p:grpSp>
      <p:grpSp>
        <p:nvGrpSpPr>
          <p:cNvPr id="93" name="Group 92">
            <a:extLst>
              <a:ext uri="{FF2B5EF4-FFF2-40B4-BE49-F238E27FC236}">
                <a16:creationId xmlns="" xmlns:a16="http://schemas.microsoft.com/office/drawing/2014/main" id="{37CE2E9A-D16D-4728-93E9-77D9F10FF84D}"/>
              </a:ext>
            </a:extLst>
          </p:cNvPr>
          <p:cNvGrpSpPr/>
          <p:nvPr/>
        </p:nvGrpSpPr>
        <p:grpSpPr>
          <a:xfrm>
            <a:off x="7056896" y="1238523"/>
            <a:ext cx="634560" cy="599554"/>
            <a:chOff x="6230534" y="1335315"/>
            <a:chExt cx="1204015" cy="1137595"/>
          </a:xfrm>
        </p:grpSpPr>
        <p:sp>
          <p:nvSpPr>
            <p:cNvPr id="94" name="Oval 20">
              <a:extLst>
                <a:ext uri="{FF2B5EF4-FFF2-40B4-BE49-F238E27FC236}">
                  <a16:creationId xmlns=""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95" name="Text Placeholder 14">
              <a:extLst>
                <a:ext uri="{FF2B5EF4-FFF2-40B4-BE49-F238E27FC236}">
                  <a16:creationId xmlns=""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2</a:t>
              </a:r>
            </a:p>
          </p:txBody>
        </p:sp>
      </p:grpSp>
      <p:grpSp>
        <p:nvGrpSpPr>
          <p:cNvPr id="96" name="Group 95">
            <a:extLst>
              <a:ext uri="{FF2B5EF4-FFF2-40B4-BE49-F238E27FC236}">
                <a16:creationId xmlns="" xmlns:a16="http://schemas.microsoft.com/office/drawing/2014/main" id="{BF6695B8-A1F9-4BAF-B035-C9665FAD6B20}"/>
              </a:ext>
            </a:extLst>
          </p:cNvPr>
          <p:cNvGrpSpPr/>
          <p:nvPr/>
        </p:nvGrpSpPr>
        <p:grpSpPr>
          <a:xfrm>
            <a:off x="7121600" y="2127464"/>
            <a:ext cx="634560" cy="599554"/>
            <a:chOff x="6230534" y="1335315"/>
            <a:chExt cx="1204015" cy="1137595"/>
          </a:xfrm>
        </p:grpSpPr>
        <p:sp>
          <p:nvSpPr>
            <p:cNvPr id="97" name="Oval 20">
              <a:extLst>
                <a:ext uri="{FF2B5EF4-FFF2-40B4-BE49-F238E27FC236}">
                  <a16:creationId xmlns=""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98" name="Text Placeholder 14">
              <a:extLst>
                <a:ext uri="{FF2B5EF4-FFF2-40B4-BE49-F238E27FC236}">
                  <a16:creationId xmlns="" xmlns:a16="http://schemas.microsoft.com/office/drawing/2014/main" id="{7A7F6C08-9BE8-4609-B27D-D68DDAB763A3}"/>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3</a:t>
              </a:r>
            </a:p>
          </p:txBody>
        </p:sp>
      </p:grpSp>
      <p:grpSp>
        <p:nvGrpSpPr>
          <p:cNvPr id="99" name="Group 98">
            <a:extLst>
              <a:ext uri="{FF2B5EF4-FFF2-40B4-BE49-F238E27FC236}">
                <a16:creationId xmlns="" xmlns:a16="http://schemas.microsoft.com/office/drawing/2014/main" id="{11EEF4D5-4815-4248-AFF4-A3B0893BA6AE}"/>
              </a:ext>
            </a:extLst>
          </p:cNvPr>
          <p:cNvGrpSpPr/>
          <p:nvPr/>
        </p:nvGrpSpPr>
        <p:grpSpPr>
          <a:xfrm>
            <a:off x="7103645" y="3000632"/>
            <a:ext cx="634560" cy="599554"/>
            <a:chOff x="6230534" y="1335315"/>
            <a:chExt cx="1204015" cy="1137595"/>
          </a:xfrm>
        </p:grpSpPr>
        <p:sp>
          <p:nvSpPr>
            <p:cNvPr id="100" name="Oval 20">
              <a:extLst>
                <a:ext uri="{FF2B5EF4-FFF2-40B4-BE49-F238E27FC236}">
                  <a16:creationId xmlns="" xmlns:a16="http://schemas.microsoft.com/office/drawing/2014/main"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101" name="Text Placeholder 14">
              <a:extLst>
                <a:ext uri="{FF2B5EF4-FFF2-40B4-BE49-F238E27FC236}">
                  <a16:creationId xmlns="" xmlns:a16="http://schemas.microsoft.com/office/drawing/2014/main"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04</a:t>
              </a:r>
            </a:p>
          </p:txBody>
        </p:sp>
      </p:grpSp>
      <p:sp>
        <p:nvSpPr>
          <p:cNvPr id="122" name="Date Placeholder 2"/>
          <p:cNvSpPr txBox="1">
            <a:spLocks/>
          </p:cNvSpPr>
          <p:nvPr/>
        </p:nvSpPr>
        <p:spPr>
          <a:xfrm>
            <a:off x="407881" y="6555971"/>
            <a:ext cx="3311138" cy="219456"/>
          </a:xfrm>
          <a:prstGeom prst="rect">
            <a:avLst/>
          </a:prstGeom>
        </p:spPr>
        <p:txBody>
          <a:bodyPr wrap="square" lIns="0" tIns="0" rIns="0" bIns="0" anchor="ctr" anchorCtr="0">
            <a:noAutofit/>
          </a:bodyPr>
          <a:lstStyle>
            <a:defPPr>
              <a:defRPr lang="de-DE"/>
            </a:defPPr>
            <a:lvl1pPr marL="0" algn="l" defTabSz="1088076" rtl="0" eaLnBrk="1" latinLnBrk="0" hangingPunct="1">
              <a:defRPr lang="de-DE" sz="800" kern="0" smtClean="0">
                <a:solidFill>
                  <a:schemeClr val="accent1"/>
                </a:solidFill>
                <a:latin typeface="+mj-lt"/>
                <a:ea typeface="+mn-ea"/>
                <a:cs typeface="Arial" panose="020B0604020202020204" pitchFamily="34" charset="0"/>
              </a:defRPr>
            </a:lvl1pPr>
            <a:lvl2pPr marL="544038" algn="l" defTabSz="1088076" rtl="0" eaLnBrk="1" latinLnBrk="0" hangingPunct="1">
              <a:defRPr sz="2100" kern="1200">
                <a:solidFill>
                  <a:schemeClr val="tx1"/>
                </a:solidFill>
                <a:latin typeface="+mn-lt"/>
                <a:ea typeface="+mn-ea"/>
                <a:cs typeface="+mn-cs"/>
              </a:defRPr>
            </a:lvl2pPr>
            <a:lvl3pPr marL="1088076" algn="l" defTabSz="1088076" rtl="0" eaLnBrk="1" latinLnBrk="0" hangingPunct="1">
              <a:defRPr sz="2100" kern="1200">
                <a:solidFill>
                  <a:schemeClr val="tx1"/>
                </a:solidFill>
                <a:latin typeface="+mn-lt"/>
                <a:ea typeface="+mn-ea"/>
                <a:cs typeface="+mn-cs"/>
              </a:defRPr>
            </a:lvl3pPr>
            <a:lvl4pPr marL="1632113" algn="l" defTabSz="1088076" rtl="0" eaLnBrk="1" latinLnBrk="0" hangingPunct="1">
              <a:defRPr sz="2100" kern="1200">
                <a:solidFill>
                  <a:schemeClr val="tx1"/>
                </a:solidFill>
                <a:latin typeface="+mn-lt"/>
                <a:ea typeface="+mn-ea"/>
                <a:cs typeface="+mn-cs"/>
              </a:defRPr>
            </a:lvl4pPr>
            <a:lvl5pPr marL="2176150" algn="l" defTabSz="1088076" rtl="0" eaLnBrk="1" latinLnBrk="0" hangingPunct="1">
              <a:defRPr sz="2100" kern="1200">
                <a:solidFill>
                  <a:schemeClr val="tx1"/>
                </a:solidFill>
                <a:latin typeface="+mn-lt"/>
                <a:ea typeface="+mn-ea"/>
                <a:cs typeface="+mn-cs"/>
              </a:defRPr>
            </a:lvl5pPr>
            <a:lvl6pPr marL="2720187" algn="l" defTabSz="1088076" rtl="0" eaLnBrk="1" latinLnBrk="0" hangingPunct="1">
              <a:defRPr sz="2100" kern="1200">
                <a:solidFill>
                  <a:schemeClr val="tx1"/>
                </a:solidFill>
                <a:latin typeface="+mn-lt"/>
                <a:ea typeface="+mn-ea"/>
                <a:cs typeface="+mn-cs"/>
              </a:defRPr>
            </a:lvl6pPr>
            <a:lvl7pPr marL="3264223" algn="l" defTabSz="1088076" rtl="0" eaLnBrk="1" latinLnBrk="0" hangingPunct="1">
              <a:defRPr sz="2100" kern="1200">
                <a:solidFill>
                  <a:schemeClr val="tx1"/>
                </a:solidFill>
                <a:latin typeface="+mn-lt"/>
                <a:ea typeface="+mn-ea"/>
                <a:cs typeface="+mn-cs"/>
              </a:defRPr>
            </a:lvl7pPr>
            <a:lvl8pPr marL="3808261" algn="l" defTabSz="1088076" rtl="0" eaLnBrk="1" latinLnBrk="0" hangingPunct="1">
              <a:defRPr sz="2100" kern="1200">
                <a:solidFill>
                  <a:schemeClr val="tx1"/>
                </a:solidFill>
                <a:latin typeface="+mn-lt"/>
                <a:ea typeface="+mn-ea"/>
                <a:cs typeface="+mn-cs"/>
              </a:defRPr>
            </a:lvl8pPr>
            <a:lvl9pPr marL="4352300" algn="l" defTabSz="1088076" rtl="0" eaLnBrk="1" latinLnBrk="0" hangingPunct="1">
              <a:defRPr sz="2100" kern="1200">
                <a:solidFill>
                  <a:schemeClr val="tx1"/>
                </a:solidFill>
                <a:latin typeface="+mn-lt"/>
                <a:ea typeface="+mn-ea"/>
                <a:cs typeface="+mn-cs"/>
              </a:defRPr>
            </a:lvl9pPr>
          </a:lstStyle>
          <a:p>
            <a:pPr marL="0" marR="0" lvl="0" indent="0" algn="l" defTabSz="1088076" rtl="0" eaLnBrk="1" fontAlgn="auto" latinLnBrk="0" hangingPunct="1">
              <a:lnSpc>
                <a:spcPct val="85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0070AD"/>
                </a:solidFill>
                <a:effectLst/>
                <a:uLnTx/>
                <a:uFillTx/>
                <a:latin typeface="Verdana"/>
                <a:ea typeface="+mn-ea"/>
                <a:cs typeface="Arial" panose="020B0604020202020204" pitchFamily="34" charset="0"/>
              </a:rPr>
              <a:t>Group IT Testing Dashboard</a:t>
            </a:r>
            <a:endParaRPr kumimoji="0" lang="en-US" sz="800" b="0" i="0" u="none" strike="noStrike" kern="0" cap="none" spc="0" normalizeH="0" baseline="0" noProof="0" dirty="0">
              <a:ln>
                <a:noFill/>
              </a:ln>
              <a:solidFill>
                <a:srgbClr val="0070AD"/>
              </a:solidFill>
              <a:effectLst/>
              <a:uLnTx/>
              <a:uFillTx/>
              <a:latin typeface="Verdana"/>
              <a:ea typeface="+mn-ea"/>
              <a:cs typeface="Arial" panose="020B0604020202020204" pitchFamily="34" charset="0"/>
            </a:endParaRPr>
          </a:p>
        </p:txBody>
      </p:sp>
      <p:grpSp>
        <p:nvGrpSpPr>
          <p:cNvPr id="32" name="Group 31">
            <a:extLst>
              <a:ext uri="{FF2B5EF4-FFF2-40B4-BE49-F238E27FC236}">
                <a16:creationId xmlns="" xmlns:a16="http://schemas.microsoft.com/office/drawing/2014/main" id="{11EEF4D5-4815-4248-AFF4-A3B0893BA6AE}"/>
              </a:ext>
            </a:extLst>
          </p:cNvPr>
          <p:cNvGrpSpPr/>
          <p:nvPr/>
        </p:nvGrpSpPr>
        <p:grpSpPr>
          <a:xfrm>
            <a:off x="7103645" y="3726875"/>
            <a:ext cx="634560" cy="599554"/>
            <a:chOff x="6230534" y="1335315"/>
            <a:chExt cx="1204015" cy="1137595"/>
          </a:xfrm>
        </p:grpSpPr>
        <p:sp>
          <p:nvSpPr>
            <p:cNvPr id="33" name="Oval 20">
              <a:extLst>
                <a:ext uri="{FF2B5EF4-FFF2-40B4-BE49-F238E27FC236}">
                  <a16:creationId xmlns="" xmlns:a16="http://schemas.microsoft.com/office/drawing/2014/main" id="{65F1E6A8-6715-4312-882B-77626481164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dirty="0"/>
            </a:p>
          </p:txBody>
        </p:sp>
        <p:sp>
          <p:nvSpPr>
            <p:cNvPr id="34" name="Text Placeholder 14">
              <a:extLst>
                <a:ext uri="{FF2B5EF4-FFF2-40B4-BE49-F238E27FC236}">
                  <a16:creationId xmlns="" xmlns:a16="http://schemas.microsoft.com/office/drawing/2014/main" id="{B95A5F15-CA62-4E49-8AEF-C1A9A0086C3F}"/>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smtClean="0">
                  <a:solidFill>
                    <a:srgbClr val="2C004B"/>
                  </a:solidFill>
                </a:rPr>
                <a:t>05</a:t>
              </a:r>
              <a:endParaRPr lang="pt-PT" sz="1400" b="1" dirty="0">
                <a:solidFill>
                  <a:srgbClr val="2C004B"/>
                </a:solidFill>
              </a:endParaRPr>
            </a:p>
          </p:txBody>
        </p:sp>
      </p:grpSp>
      <p:sp>
        <p:nvSpPr>
          <p:cNvPr id="35" name="Text Placeholder 15">
            <a:extLst>
              <a:ext uri="{FF2B5EF4-FFF2-40B4-BE49-F238E27FC236}">
                <a16:creationId xmlns:a16="http://schemas.microsoft.com/office/drawing/2014/main" xmlns="" id="{B116F654-E288-4866-BC21-4BA2B96966E1}"/>
              </a:ext>
            </a:extLst>
          </p:cNvPr>
          <p:cNvSpPr txBox="1">
            <a:spLocks/>
          </p:cNvSpPr>
          <p:nvPr/>
        </p:nvSpPr>
        <p:spPr>
          <a:xfrm>
            <a:off x="8059752" y="3763221"/>
            <a:ext cx="3707435" cy="555303"/>
          </a:xfrm>
          <a:prstGeom prst="rect">
            <a:avLst/>
          </a:prstGeom>
        </p:spPr>
        <p:txBody>
          <a:bodyPr vert="horz" lIns="0" tIns="0" rIns="0" bIns="0" rtlCol="0" anchor="ctr">
            <a:noAutofit/>
          </a:bodyPr>
          <a:lstStyle>
            <a:lvl1pPr marL="0" indent="0" algn="l" defTabSz="914400" rtl="0" eaLnBrk="1" latinLnBrk="0" hangingPunct="1">
              <a:lnSpc>
                <a:spcPts val="16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233363" indent="-139700" algn="l" defTabSz="914400" rtl="0" eaLnBrk="1" latinLnBrk="0" hangingPunct="1">
              <a:lnSpc>
                <a:spcPct val="100000"/>
              </a:lnSpc>
              <a:spcBef>
                <a:spcPts val="600"/>
              </a:spcBef>
              <a:spcAft>
                <a:spcPts val="0"/>
              </a:spcAft>
              <a:buClr>
                <a:schemeClr val="accent1"/>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accent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00" b="1" dirty="0" smtClean="0"/>
              <a:t>Use case Implementation</a:t>
            </a:r>
            <a:endParaRPr lang="en-US" sz="1500" b="1" dirty="0">
              <a:solidFill>
                <a:prstClr val="black"/>
              </a:solidFill>
            </a:endParaRPr>
          </a:p>
        </p:txBody>
      </p:sp>
    </p:spTree>
    <p:extLst>
      <p:ext uri="{BB962C8B-B14F-4D97-AF65-F5344CB8AC3E}">
        <p14:creationId xmlns:p14="http://schemas.microsoft.com/office/powerpoint/2010/main" val="156201160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pPr>
              <a:lnSpc>
                <a:spcPct val="85000"/>
              </a:lnSpc>
            </a:pPr>
            <a:r>
              <a:rPr lang="en-US" dirty="0">
                <a:solidFill>
                  <a:srgbClr val="0070AD"/>
                </a:solidFill>
              </a:rPr>
              <a:t>Group IT Testing Dashboard</a:t>
            </a: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a:solidFill>
                  <a:srgbClr val="E6E7E7">
                    <a:lumMod val="50000"/>
                  </a:srgbClr>
                </a:solidFill>
              </a:rPr>
              <a:pPr/>
              <a:t>20</a:t>
            </a:fld>
            <a:endParaRPr lang="en-US" dirty="0">
              <a:solidFill>
                <a:srgbClr val="E6E7E7">
                  <a:lumMod val="50000"/>
                </a:srgbClr>
              </a:solidFill>
            </a:endParaRPr>
          </a:p>
        </p:txBody>
      </p:sp>
      <p:sp>
        <p:nvSpPr>
          <p:cNvPr id="11" name="TextBox 10"/>
          <p:cNvSpPr txBox="1"/>
          <p:nvPr/>
        </p:nvSpPr>
        <p:spPr>
          <a:xfrm>
            <a:off x="560282" y="965987"/>
            <a:ext cx="10578431" cy="646331"/>
          </a:xfrm>
          <a:prstGeom prst="rect">
            <a:avLst/>
          </a:prstGeom>
          <a:noFill/>
        </p:spPr>
        <p:txBody>
          <a:bodyPr wrap="square" rtlCol="0">
            <a:spAutoFit/>
          </a:bodyPr>
          <a:lstStyle/>
          <a:p>
            <a:r>
              <a:rPr lang="en-GB" sz="1800" b="1" dirty="0" smtClean="0">
                <a:latin typeface="Calibri" panose="020F0502020204030204" pitchFamily="34" charset="0"/>
                <a:cs typeface="Calibri" panose="020F0502020204030204" pitchFamily="34" charset="0"/>
              </a:rPr>
              <a:t>6. </a:t>
            </a:r>
            <a:r>
              <a:rPr lang="en-US" sz="1800" b="1" dirty="0">
                <a:latin typeface="Calibri" panose="020F0502020204030204" pitchFamily="34" charset="0"/>
                <a:cs typeface="Calibri" panose="020F0502020204030204" pitchFamily="34" charset="0"/>
              </a:rPr>
              <a:t>UFT launch validation – If UFT is not launched then a mail should be send stating ”Please note UFT launch was unsuccessful , hence no action was taken</a:t>
            </a:r>
            <a:r>
              <a:rPr lang="en-US" sz="1800" b="1" dirty="0" smtClean="0">
                <a:latin typeface="Calibri" panose="020F0502020204030204" pitchFamily="34" charset="0"/>
                <a:cs typeface="Calibri" panose="020F0502020204030204" pitchFamily="34" charset="0"/>
              </a:rPr>
              <a:t>. Kindly </a:t>
            </a:r>
            <a:r>
              <a:rPr lang="en-US" sz="1800" b="1" dirty="0">
                <a:latin typeface="Calibri" panose="020F0502020204030204" pitchFamily="34" charset="0"/>
                <a:cs typeface="Calibri" panose="020F0502020204030204" pitchFamily="34" charset="0"/>
              </a:rPr>
              <a:t>take the corrective action.”</a:t>
            </a:r>
          </a:p>
        </p:txBody>
      </p:sp>
      <p:pic>
        <p:nvPicPr>
          <p:cNvPr id="18" name="Picture 17"/>
          <p:cNvPicPr/>
          <p:nvPr/>
        </p:nvPicPr>
        <p:blipFill>
          <a:blip r:embed="rId2"/>
          <a:stretch>
            <a:fillRect/>
          </a:stretch>
        </p:blipFill>
        <p:spPr>
          <a:xfrm>
            <a:off x="1273629" y="1993692"/>
            <a:ext cx="9069584" cy="4227937"/>
          </a:xfrm>
          <a:prstGeom prst="rect">
            <a:avLst/>
          </a:prstGeom>
          <a:ln w="3175">
            <a:solidFill>
              <a:schemeClr val="tx1"/>
            </a:solidFill>
          </a:ln>
        </p:spPr>
      </p:pic>
      <p:sp>
        <p:nvSpPr>
          <p:cNvPr id="9" name="Title 1"/>
          <p:cNvSpPr txBox="1">
            <a:spLocks/>
          </p:cNvSpPr>
          <p:nvPr/>
        </p:nvSpPr>
        <p:spPr>
          <a:xfrm>
            <a:off x="560282" y="196931"/>
            <a:ext cx="11013735" cy="863601"/>
          </a:xfrm>
          <a:prstGeom prst="rect">
            <a:avLst/>
          </a:prstGeom>
        </p:spPr>
        <p:txBody>
          <a:bodyPr vert="horz" lIns="0" tIns="0" rIns="0" bIns="0" rtlCol="0" anchor="ctr">
            <a:normAutofit/>
          </a:bodyPr>
          <a:lstStyle>
            <a:lvl1pPr algn="l" defTabSz="914126" rtl="0" eaLnBrk="1" latinLnBrk="0" hangingPunct="1">
              <a:lnSpc>
                <a:spcPct val="90000"/>
              </a:lnSpc>
              <a:spcBef>
                <a:spcPct val="0"/>
              </a:spcBef>
              <a:buNone/>
              <a:defRPr lang="pt-PT" sz="29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en-GB" b="1" dirty="0" smtClean="0"/>
              <a:t>Process Flowchart AS-IS Continued…</a:t>
            </a:r>
            <a:endParaRPr lang="en-US" dirty="0"/>
          </a:p>
        </p:txBody>
      </p:sp>
    </p:spTree>
    <p:extLst>
      <p:ext uri="{BB962C8B-B14F-4D97-AF65-F5344CB8AC3E}">
        <p14:creationId xmlns:p14="http://schemas.microsoft.com/office/powerpoint/2010/main" val="63732350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pPr>
              <a:lnSpc>
                <a:spcPct val="85000"/>
              </a:lnSpc>
            </a:pPr>
            <a:r>
              <a:rPr lang="en-US" dirty="0">
                <a:solidFill>
                  <a:srgbClr val="0070AD"/>
                </a:solidFill>
              </a:rPr>
              <a:t>Group IT Testing Dashboard</a:t>
            </a: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a:solidFill>
                  <a:srgbClr val="E6E7E7">
                    <a:lumMod val="50000"/>
                  </a:srgbClr>
                </a:solidFill>
              </a:rPr>
              <a:pPr/>
              <a:t>21</a:t>
            </a:fld>
            <a:endParaRPr lang="en-US" dirty="0">
              <a:solidFill>
                <a:srgbClr val="E6E7E7">
                  <a:lumMod val="50000"/>
                </a:srgbClr>
              </a:solidFill>
            </a:endParaRPr>
          </a:p>
        </p:txBody>
      </p:sp>
      <p:pic>
        <p:nvPicPr>
          <p:cNvPr id="9" name="Picture 8"/>
          <p:cNvPicPr/>
          <p:nvPr/>
        </p:nvPicPr>
        <p:blipFill>
          <a:blip r:embed="rId2"/>
          <a:stretch>
            <a:fillRect/>
          </a:stretch>
        </p:blipFill>
        <p:spPr>
          <a:xfrm>
            <a:off x="1193181" y="1304694"/>
            <a:ext cx="10079422" cy="4391568"/>
          </a:xfrm>
          <a:prstGeom prst="rect">
            <a:avLst/>
          </a:prstGeom>
          <a:ln w="3175">
            <a:solidFill>
              <a:schemeClr val="tx1"/>
            </a:solidFill>
          </a:ln>
        </p:spPr>
      </p:pic>
      <p:sp>
        <p:nvSpPr>
          <p:cNvPr id="6" name="Title 1"/>
          <p:cNvSpPr txBox="1">
            <a:spLocks/>
          </p:cNvSpPr>
          <p:nvPr/>
        </p:nvSpPr>
        <p:spPr>
          <a:xfrm>
            <a:off x="560282" y="196931"/>
            <a:ext cx="11013735" cy="863601"/>
          </a:xfrm>
          <a:prstGeom prst="rect">
            <a:avLst/>
          </a:prstGeom>
        </p:spPr>
        <p:txBody>
          <a:bodyPr vert="horz" lIns="0" tIns="0" rIns="0" bIns="0" rtlCol="0" anchor="ctr">
            <a:normAutofit/>
          </a:bodyPr>
          <a:lstStyle>
            <a:lvl1pPr algn="l" defTabSz="914126" rtl="0" eaLnBrk="1" latinLnBrk="0" hangingPunct="1">
              <a:lnSpc>
                <a:spcPct val="90000"/>
              </a:lnSpc>
              <a:spcBef>
                <a:spcPct val="0"/>
              </a:spcBef>
              <a:buNone/>
              <a:defRPr lang="pt-PT" sz="29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en-GB" b="1" dirty="0" smtClean="0"/>
              <a:t>Process Flowchart AS-IS Continued…</a:t>
            </a:r>
            <a:endParaRPr lang="en-US" dirty="0"/>
          </a:p>
        </p:txBody>
      </p:sp>
    </p:spTree>
    <p:extLst>
      <p:ext uri="{BB962C8B-B14F-4D97-AF65-F5344CB8AC3E}">
        <p14:creationId xmlns:p14="http://schemas.microsoft.com/office/powerpoint/2010/main" val="198231374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pPr>
              <a:lnSpc>
                <a:spcPct val="85000"/>
              </a:lnSpc>
            </a:pPr>
            <a:r>
              <a:rPr lang="en-US" dirty="0">
                <a:solidFill>
                  <a:srgbClr val="0070AD"/>
                </a:solidFill>
              </a:rPr>
              <a:t>Group IT Testing Dashboard</a:t>
            </a: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a:solidFill>
                  <a:srgbClr val="E6E7E7">
                    <a:lumMod val="50000"/>
                  </a:srgbClr>
                </a:solidFill>
              </a:rPr>
              <a:pPr/>
              <a:t>22</a:t>
            </a:fld>
            <a:endParaRPr lang="en-US" dirty="0">
              <a:solidFill>
                <a:srgbClr val="E6E7E7">
                  <a:lumMod val="50000"/>
                </a:srgbClr>
              </a:solidFill>
            </a:endParaRPr>
          </a:p>
        </p:txBody>
      </p:sp>
      <p:sp>
        <p:nvSpPr>
          <p:cNvPr id="11" name="TextBox 10"/>
          <p:cNvSpPr txBox="1"/>
          <p:nvPr/>
        </p:nvSpPr>
        <p:spPr>
          <a:xfrm>
            <a:off x="560282" y="1047542"/>
            <a:ext cx="10578431" cy="646331"/>
          </a:xfrm>
          <a:prstGeom prst="rect">
            <a:avLst/>
          </a:prstGeom>
          <a:noFill/>
        </p:spPr>
        <p:txBody>
          <a:bodyPr wrap="square" rtlCol="0">
            <a:spAutoFit/>
          </a:bodyPr>
          <a:lstStyle/>
          <a:p>
            <a:r>
              <a:rPr lang="en-GB" sz="1800" b="1" dirty="0" smtClean="0">
                <a:latin typeface="Calibri" panose="020F0502020204030204" pitchFamily="34" charset="0"/>
                <a:cs typeface="Calibri" panose="020F0502020204030204" pitchFamily="34" charset="0"/>
              </a:rPr>
              <a:t>7. </a:t>
            </a:r>
            <a:r>
              <a:rPr lang="en-GB" sz="1800" b="1" dirty="0">
                <a:latin typeface="Calibri" panose="020F0502020204030204" pitchFamily="34" charset="0"/>
                <a:cs typeface="Calibri" panose="020F0502020204030204" pitchFamily="34" charset="0"/>
              </a:rPr>
              <a:t>Once the scripts are executed an auto generated folder with present date as folder name will be created in the path defined in UFT script</a:t>
            </a:r>
            <a:endParaRPr lang="en-US" sz="1800" b="1" dirty="0">
              <a:latin typeface="Calibri" panose="020F0502020204030204" pitchFamily="34" charset="0"/>
              <a:cs typeface="Calibri" panose="020F0502020204030204" pitchFamily="34" charset="0"/>
            </a:endParaRPr>
          </a:p>
        </p:txBody>
      </p:sp>
      <p:pic>
        <p:nvPicPr>
          <p:cNvPr id="9" name="Picture 8"/>
          <p:cNvPicPr/>
          <p:nvPr/>
        </p:nvPicPr>
        <p:blipFill>
          <a:blip r:embed="rId2"/>
          <a:stretch>
            <a:fillRect/>
          </a:stretch>
        </p:blipFill>
        <p:spPr>
          <a:xfrm>
            <a:off x="1527718" y="2118700"/>
            <a:ext cx="9054790" cy="3627723"/>
          </a:xfrm>
          <a:prstGeom prst="rect">
            <a:avLst/>
          </a:prstGeom>
          <a:ln w="3175">
            <a:solidFill>
              <a:schemeClr val="tx1"/>
            </a:solidFill>
          </a:ln>
        </p:spPr>
      </p:pic>
      <p:sp>
        <p:nvSpPr>
          <p:cNvPr id="10" name="Rectangle 9"/>
          <p:cNvSpPr/>
          <p:nvPr/>
        </p:nvSpPr>
        <p:spPr>
          <a:xfrm>
            <a:off x="2853777" y="4042900"/>
            <a:ext cx="3104515" cy="16383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2" name="Title 1"/>
          <p:cNvSpPr txBox="1">
            <a:spLocks/>
          </p:cNvSpPr>
          <p:nvPr/>
        </p:nvSpPr>
        <p:spPr>
          <a:xfrm>
            <a:off x="560282" y="196931"/>
            <a:ext cx="11013735" cy="863601"/>
          </a:xfrm>
          <a:prstGeom prst="rect">
            <a:avLst/>
          </a:prstGeom>
        </p:spPr>
        <p:txBody>
          <a:bodyPr vert="horz" lIns="0" tIns="0" rIns="0" bIns="0" rtlCol="0" anchor="ctr">
            <a:normAutofit/>
          </a:bodyPr>
          <a:lstStyle>
            <a:lvl1pPr algn="l" defTabSz="914126" rtl="0" eaLnBrk="1" latinLnBrk="0" hangingPunct="1">
              <a:lnSpc>
                <a:spcPct val="90000"/>
              </a:lnSpc>
              <a:spcBef>
                <a:spcPct val="0"/>
              </a:spcBef>
              <a:buNone/>
              <a:defRPr lang="pt-PT" sz="29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en-GB" b="1" dirty="0" smtClean="0"/>
              <a:t>Process Flowchart AS-IS Continued…</a:t>
            </a:r>
            <a:endParaRPr lang="en-US" dirty="0"/>
          </a:p>
        </p:txBody>
      </p:sp>
    </p:spTree>
    <p:extLst>
      <p:ext uri="{BB962C8B-B14F-4D97-AF65-F5344CB8AC3E}">
        <p14:creationId xmlns:p14="http://schemas.microsoft.com/office/powerpoint/2010/main" val="410366016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pPr>
              <a:lnSpc>
                <a:spcPct val="85000"/>
              </a:lnSpc>
            </a:pPr>
            <a:r>
              <a:rPr lang="en-US" dirty="0">
                <a:solidFill>
                  <a:srgbClr val="0070AD"/>
                </a:solidFill>
              </a:rPr>
              <a:t>Group IT Testing Dashboard</a:t>
            </a: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a:solidFill>
                  <a:srgbClr val="E6E7E7">
                    <a:lumMod val="50000"/>
                  </a:srgbClr>
                </a:solidFill>
              </a:rPr>
              <a:pPr/>
              <a:t>23</a:t>
            </a:fld>
            <a:endParaRPr lang="en-US" dirty="0">
              <a:solidFill>
                <a:srgbClr val="E6E7E7">
                  <a:lumMod val="50000"/>
                </a:srgbClr>
              </a:solidFill>
            </a:endParaRPr>
          </a:p>
        </p:txBody>
      </p:sp>
      <p:sp>
        <p:nvSpPr>
          <p:cNvPr id="11" name="TextBox 10"/>
          <p:cNvSpPr txBox="1"/>
          <p:nvPr/>
        </p:nvSpPr>
        <p:spPr>
          <a:xfrm>
            <a:off x="966355" y="1199343"/>
            <a:ext cx="10578431" cy="738664"/>
          </a:xfrm>
          <a:prstGeom prst="rect">
            <a:avLst/>
          </a:prstGeom>
          <a:noFill/>
        </p:spPr>
        <p:txBody>
          <a:bodyPr wrap="square" rtlCol="0">
            <a:spAutoFit/>
          </a:bodyPr>
          <a:lstStyle/>
          <a:p>
            <a:r>
              <a:rPr lang="en-GB" sz="1400" b="1" dirty="0" smtClean="0"/>
              <a:t>8. </a:t>
            </a:r>
            <a:r>
              <a:rPr lang="en-GB" sz="1400" b="1" dirty="0"/>
              <a:t>Renaming the result folder name inside the present day folder with the name mentioned in the “E – Column of Input data sheet ” as mentioned below:</a:t>
            </a:r>
            <a:endParaRPr lang="en-US" sz="1400" b="1" dirty="0"/>
          </a:p>
          <a:p>
            <a:endParaRPr lang="en-US" sz="1400" b="1" dirty="0"/>
          </a:p>
        </p:txBody>
      </p:sp>
      <p:sp>
        <p:nvSpPr>
          <p:cNvPr id="19" name="Rectangle 9"/>
          <p:cNvSpPr>
            <a:spLocks noChangeArrowheads="1"/>
          </p:cNvSpPr>
          <p:nvPr/>
        </p:nvSpPr>
        <p:spPr bwMode="auto">
          <a:xfrm>
            <a:off x="1308675" y="2032236"/>
            <a:ext cx="5481869"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smtClean="0">
                <a:ln>
                  <a:noFill/>
                </a:ln>
                <a:solidFill>
                  <a:srgbClr val="3B3B3B"/>
                </a:solidFill>
                <a:effectLst/>
                <a:latin typeface="Verdana" panose="020B0604030504040204" pitchFamily="34" charset="0"/>
                <a:ea typeface="Arial" panose="020B0604020202020204" pitchFamily="34" charset="0"/>
                <a:cs typeface="Times New Roman" panose="02020603050405020304" pitchFamily="18" charset="0"/>
              </a:rPr>
              <a:t>1</a:t>
            </a:r>
            <a:r>
              <a:rPr kumimoji="0" lang="en-GB" altLang="en-US" sz="1100" b="1" i="0" u="none" strike="noStrike" cap="none" normalizeH="0" baseline="0" dirty="0" smtClean="0">
                <a:ln>
                  <a:noFill/>
                </a:ln>
                <a:solidFill>
                  <a:srgbClr val="3B3B3B"/>
                </a:solidFill>
                <a:effectLst/>
                <a:latin typeface="Verdana" panose="020B0604030504040204" pitchFamily="34" charset="0"/>
                <a:ea typeface="Arial" panose="020B0604020202020204" pitchFamily="34" charset="0"/>
                <a:cs typeface="Times New Roman" panose="02020603050405020304" pitchFamily="18" charset="0"/>
              </a:rPr>
              <a:t>. Copy the name from E column of Input data sheet</a:t>
            </a:r>
            <a:r>
              <a:rPr kumimoji="0" lang="en-GB" altLang="en-US" sz="1100" b="0" i="0" u="none" strike="noStrike" cap="none" normalizeH="0" baseline="0" dirty="0" smtClean="0">
                <a:ln>
                  <a:noFill/>
                </a:ln>
                <a:solidFill>
                  <a:srgbClr val="3B3B3B"/>
                </a:solidFill>
                <a:effectLst/>
                <a:latin typeface="Verdana" panose="020B0604030504040204" pitchFamily="34" charset="0"/>
                <a:ea typeface="Arial" panose="020B0604020202020204" pitchFamily="34" charset="0"/>
                <a:cs typeface="Times New Roman" panose="02020603050405020304" pitchFamily="18" charset="0"/>
              </a:rPr>
              <a:t>.</a:t>
            </a:r>
            <a:endParaRPr kumimoji="0" lang="en-GB" altLang="en-US" sz="1100" b="0" i="0" u="none" strike="noStrike" cap="none" normalizeH="0" baseline="0" dirty="0" smtClean="0">
              <a:ln>
                <a:noFill/>
              </a:ln>
              <a:solidFill>
                <a:schemeClr val="tx1"/>
              </a:solidFill>
              <a:effectLst/>
              <a:latin typeface="Arial" panose="020B0604020202020204" pitchFamily="34" charset="0"/>
            </a:endParaRPr>
          </a:p>
        </p:txBody>
      </p:sp>
      <p:pic>
        <p:nvPicPr>
          <p:cNvPr id="21" name="Picture 20"/>
          <p:cNvPicPr/>
          <p:nvPr/>
        </p:nvPicPr>
        <p:blipFill>
          <a:blip r:embed="rId2"/>
          <a:stretch>
            <a:fillRect/>
          </a:stretch>
        </p:blipFill>
        <p:spPr>
          <a:xfrm>
            <a:off x="1483904" y="2459902"/>
            <a:ext cx="7292106" cy="907766"/>
          </a:xfrm>
          <a:prstGeom prst="rect">
            <a:avLst/>
          </a:prstGeom>
          <a:ln w="3175">
            <a:solidFill>
              <a:schemeClr val="tx1"/>
            </a:solidFill>
          </a:ln>
        </p:spPr>
      </p:pic>
      <p:sp>
        <p:nvSpPr>
          <p:cNvPr id="22" name="Rectangle 21"/>
          <p:cNvSpPr/>
          <p:nvPr/>
        </p:nvSpPr>
        <p:spPr>
          <a:xfrm>
            <a:off x="7560527" y="2619474"/>
            <a:ext cx="1056703" cy="54870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5" name="TextBox 24"/>
          <p:cNvSpPr txBox="1"/>
          <p:nvPr/>
        </p:nvSpPr>
        <p:spPr>
          <a:xfrm>
            <a:off x="1308675" y="3719436"/>
            <a:ext cx="5658182" cy="430887"/>
          </a:xfrm>
          <a:prstGeom prst="rect">
            <a:avLst/>
          </a:prstGeom>
          <a:noFill/>
        </p:spPr>
        <p:txBody>
          <a:bodyPr wrap="square" rtlCol="0">
            <a:spAutoFit/>
          </a:bodyPr>
          <a:lstStyle/>
          <a:p>
            <a:r>
              <a:rPr lang="en-GB" sz="1100" b="1" dirty="0"/>
              <a:t>2</a:t>
            </a:r>
            <a:r>
              <a:rPr lang="en-GB" sz="1100" b="1" dirty="0" smtClean="0"/>
              <a:t>. Go </a:t>
            </a:r>
            <a:r>
              <a:rPr lang="en-GB" sz="1100" b="1" dirty="0"/>
              <a:t>to the present day folder</a:t>
            </a:r>
            <a:endParaRPr lang="en-US" sz="1100" b="1" dirty="0"/>
          </a:p>
          <a:p>
            <a:endParaRPr lang="en-US" sz="1100" b="1" dirty="0" smtClean="0"/>
          </a:p>
        </p:txBody>
      </p:sp>
      <p:pic>
        <p:nvPicPr>
          <p:cNvPr id="27" name="Picture 26"/>
          <p:cNvPicPr/>
          <p:nvPr/>
        </p:nvPicPr>
        <p:blipFill>
          <a:blip r:embed="rId3"/>
          <a:stretch>
            <a:fillRect/>
          </a:stretch>
        </p:blipFill>
        <p:spPr>
          <a:xfrm>
            <a:off x="1606163" y="4181101"/>
            <a:ext cx="6533496" cy="2312134"/>
          </a:xfrm>
          <a:prstGeom prst="rect">
            <a:avLst/>
          </a:prstGeom>
          <a:ln w="3175">
            <a:solidFill>
              <a:schemeClr val="tx1"/>
            </a:solidFill>
          </a:ln>
        </p:spPr>
      </p:pic>
      <p:sp>
        <p:nvSpPr>
          <p:cNvPr id="28" name="Rectangle 27"/>
          <p:cNvSpPr/>
          <p:nvPr/>
        </p:nvSpPr>
        <p:spPr>
          <a:xfrm>
            <a:off x="2713355" y="5544420"/>
            <a:ext cx="4253502" cy="32297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9" name="Rectangle 28"/>
          <p:cNvSpPr/>
          <p:nvPr/>
        </p:nvSpPr>
        <p:spPr>
          <a:xfrm>
            <a:off x="6550524" y="5094104"/>
            <a:ext cx="655320" cy="20701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3" name="Title 1"/>
          <p:cNvSpPr txBox="1">
            <a:spLocks/>
          </p:cNvSpPr>
          <p:nvPr/>
        </p:nvSpPr>
        <p:spPr>
          <a:xfrm>
            <a:off x="560282" y="196931"/>
            <a:ext cx="11013735" cy="863601"/>
          </a:xfrm>
          <a:prstGeom prst="rect">
            <a:avLst/>
          </a:prstGeom>
        </p:spPr>
        <p:txBody>
          <a:bodyPr vert="horz" lIns="0" tIns="0" rIns="0" bIns="0" rtlCol="0" anchor="ctr">
            <a:normAutofit/>
          </a:bodyPr>
          <a:lstStyle>
            <a:lvl1pPr algn="l" defTabSz="914126" rtl="0" eaLnBrk="1" latinLnBrk="0" hangingPunct="1">
              <a:lnSpc>
                <a:spcPct val="90000"/>
              </a:lnSpc>
              <a:spcBef>
                <a:spcPct val="0"/>
              </a:spcBef>
              <a:buNone/>
              <a:defRPr lang="pt-PT" sz="29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en-GB" b="1" dirty="0" smtClean="0"/>
              <a:t>Process Flowchart AS-IS Continued…</a:t>
            </a:r>
            <a:endParaRPr lang="en-US" dirty="0"/>
          </a:p>
        </p:txBody>
      </p:sp>
    </p:spTree>
    <p:extLst>
      <p:ext uri="{BB962C8B-B14F-4D97-AF65-F5344CB8AC3E}">
        <p14:creationId xmlns:p14="http://schemas.microsoft.com/office/powerpoint/2010/main" val="299509662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pPr>
              <a:lnSpc>
                <a:spcPct val="85000"/>
              </a:lnSpc>
            </a:pPr>
            <a:r>
              <a:rPr lang="en-US" dirty="0">
                <a:solidFill>
                  <a:srgbClr val="0070AD"/>
                </a:solidFill>
              </a:rPr>
              <a:t>Group IT Testing Dashboard</a:t>
            </a: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a:solidFill>
                  <a:srgbClr val="E6E7E7">
                    <a:lumMod val="50000"/>
                  </a:srgbClr>
                </a:solidFill>
              </a:rPr>
              <a:pPr/>
              <a:t>24</a:t>
            </a:fld>
            <a:endParaRPr lang="en-US" dirty="0">
              <a:solidFill>
                <a:srgbClr val="E6E7E7">
                  <a:lumMod val="50000"/>
                </a:srgbClr>
              </a:solidFill>
            </a:endParaRPr>
          </a:p>
        </p:txBody>
      </p:sp>
      <p:sp>
        <p:nvSpPr>
          <p:cNvPr id="2" name="TextBox 1"/>
          <p:cNvSpPr txBox="1"/>
          <p:nvPr/>
        </p:nvSpPr>
        <p:spPr>
          <a:xfrm>
            <a:off x="776360" y="1171370"/>
            <a:ext cx="4264950" cy="584775"/>
          </a:xfrm>
          <a:prstGeom prst="rect">
            <a:avLst/>
          </a:prstGeom>
          <a:noFill/>
        </p:spPr>
        <p:txBody>
          <a:bodyPr wrap="none" rtlCol="0">
            <a:spAutoFit/>
          </a:bodyPr>
          <a:lstStyle/>
          <a:p>
            <a:r>
              <a:rPr lang="en-GB" sz="1600" dirty="0">
                <a:latin typeface="Calibri" panose="020F0502020204030204" pitchFamily="34" charset="0"/>
                <a:cs typeface="Calibri" panose="020F0502020204030204" pitchFamily="34" charset="0"/>
              </a:rPr>
              <a:t>3.Search for folder name with “Killing test” name</a:t>
            </a:r>
            <a:endParaRPr lang="en-US" sz="1600" dirty="0">
              <a:latin typeface="Calibri" panose="020F0502020204030204" pitchFamily="34" charset="0"/>
              <a:cs typeface="Calibri" panose="020F0502020204030204" pitchFamily="34" charset="0"/>
            </a:endParaRPr>
          </a:p>
          <a:p>
            <a:endParaRPr lang="en-US" sz="1600" dirty="0" smtClean="0">
              <a:latin typeface="Calibri" panose="020F0502020204030204" pitchFamily="34" charset="0"/>
              <a:cs typeface="Calibri" panose="020F0502020204030204" pitchFamily="34" charset="0"/>
            </a:endParaRPr>
          </a:p>
        </p:txBody>
      </p:sp>
      <p:sp>
        <p:nvSpPr>
          <p:cNvPr id="6" name="TextBox 5"/>
          <p:cNvSpPr txBox="1"/>
          <p:nvPr/>
        </p:nvSpPr>
        <p:spPr>
          <a:xfrm>
            <a:off x="766004" y="1612864"/>
            <a:ext cx="8485721" cy="584775"/>
          </a:xfrm>
          <a:prstGeom prst="rect">
            <a:avLst/>
          </a:prstGeom>
          <a:noFill/>
        </p:spPr>
        <p:txBody>
          <a:bodyPr wrap="none" rtlCol="0">
            <a:spAutoFit/>
          </a:bodyPr>
          <a:lstStyle/>
          <a:p>
            <a:r>
              <a:rPr lang="en-GB" sz="1600" dirty="0">
                <a:latin typeface="Calibri" panose="020F0502020204030204" pitchFamily="34" charset="0"/>
                <a:cs typeface="Calibri" panose="020F0502020204030204" pitchFamily="34" charset="0"/>
              </a:rPr>
              <a:t>4. Rename the Killing test name folder with ”PRE-PROD _New Site” as copied from Input data sheet.</a:t>
            </a:r>
            <a:endParaRPr lang="en-US" sz="1600" dirty="0">
              <a:latin typeface="Calibri" panose="020F0502020204030204" pitchFamily="34" charset="0"/>
              <a:cs typeface="Calibri" panose="020F0502020204030204" pitchFamily="34" charset="0"/>
            </a:endParaRPr>
          </a:p>
          <a:p>
            <a:endParaRPr lang="en-US" sz="1600" dirty="0" smtClean="0">
              <a:latin typeface="Calibri" panose="020F0502020204030204" pitchFamily="34" charset="0"/>
              <a:cs typeface="Calibri" panose="020F0502020204030204" pitchFamily="34" charset="0"/>
            </a:endParaRPr>
          </a:p>
        </p:txBody>
      </p:sp>
      <p:pic>
        <p:nvPicPr>
          <p:cNvPr id="14" name="Picture 13"/>
          <p:cNvPicPr/>
          <p:nvPr/>
        </p:nvPicPr>
        <p:blipFill>
          <a:blip r:embed="rId2"/>
          <a:stretch>
            <a:fillRect/>
          </a:stretch>
        </p:blipFill>
        <p:spPr>
          <a:xfrm>
            <a:off x="776360" y="2308477"/>
            <a:ext cx="9806696" cy="3806000"/>
          </a:xfrm>
          <a:prstGeom prst="rect">
            <a:avLst/>
          </a:prstGeom>
          <a:ln w="3175">
            <a:solidFill>
              <a:schemeClr val="tx1"/>
            </a:solidFill>
          </a:ln>
        </p:spPr>
      </p:pic>
      <p:sp>
        <p:nvSpPr>
          <p:cNvPr id="8" name="Title 1"/>
          <p:cNvSpPr txBox="1">
            <a:spLocks/>
          </p:cNvSpPr>
          <p:nvPr/>
        </p:nvSpPr>
        <p:spPr>
          <a:xfrm>
            <a:off x="560282" y="196931"/>
            <a:ext cx="11013735" cy="863601"/>
          </a:xfrm>
          <a:prstGeom prst="rect">
            <a:avLst/>
          </a:prstGeom>
        </p:spPr>
        <p:txBody>
          <a:bodyPr vert="horz" lIns="0" tIns="0" rIns="0" bIns="0" rtlCol="0" anchor="ctr">
            <a:normAutofit/>
          </a:bodyPr>
          <a:lstStyle>
            <a:lvl1pPr algn="l" defTabSz="914126" rtl="0" eaLnBrk="1" latinLnBrk="0" hangingPunct="1">
              <a:lnSpc>
                <a:spcPct val="90000"/>
              </a:lnSpc>
              <a:spcBef>
                <a:spcPct val="0"/>
              </a:spcBef>
              <a:buNone/>
              <a:defRPr lang="pt-PT" sz="29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en-GB" b="1" dirty="0" smtClean="0"/>
              <a:t>Process Flowchart AS-IS Continued…</a:t>
            </a:r>
            <a:endParaRPr lang="en-US" dirty="0"/>
          </a:p>
        </p:txBody>
      </p:sp>
    </p:spTree>
    <p:extLst>
      <p:ext uri="{BB962C8B-B14F-4D97-AF65-F5344CB8AC3E}">
        <p14:creationId xmlns:p14="http://schemas.microsoft.com/office/powerpoint/2010/main" val="289257507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pPr>
              <a:lnSpc>
                <a:spcPct val="85000"/>
              </a:lnSpc>
            </a:pPr>
            <a:r>
              <a:rPr lang="en-US" dirty="0">
                <a:solidFill>
                  <a:srgbClr val="0070AD"/>
                </a:solidFill>
              </a:rPr>
              <a:t>Group IT Testing Dashboard</a:t>
            </a: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a:solidFill>
                  <a:srgbClr val="E6E7E7">
                    <a:lumMod val="50000"/>
                  </a:srgbClr>
                </a:solidFill>
              </a:rPr>
              <a:pPr/>
              <a:t>25</a:t>
            </a:fld>
            <a:endParaRPr lang="en-US" dirty="0">
              <a:solidFill>
                <a:srgbClr val="E6E7E7">
                  <a:lumMod val="50000"/>
                </a:srgbClr>
              </a:solidFill>
            </a:endParaRPr>
          </a:p>
        </p:txBody>
      </p:sp>
      <p:sp>
        <p:nvSpPr>
          <p:cNvPr id="11" name="TextBox 10"/>
          <p:cNvSpPr txBox="1"/>
          <p:nvPr/>
        </p:nvSpPr>
        <p:spPr>
          <a:xfrm>
            <a:off x="560282" y="1063873"/>
            <a:ext cx="10578431" cy="861774"/>
          </a:xfrm>
          <a:prstGeom prst="rect">
            <a:avLst/>
          </a:prstGeom>
          <a:noFill/>
        </p:spPr>
        <p:txBody>
          <a:bodyPr wrap="square" rtlCol="0">
            <a:spAutoFit/>
          </a:bodyPr>
          <a:lstStyle/>
          <a:p>
            <a:r>
              <a:rPr lang="en-GB" sz="1800" b="1" dirty="0">
                <a:latin typeface="Calibri" panose="020F0502020204030204" pitchFamily="34" charset="0"/>
                <a:cs typeface="Calibri" panose="020F0502020204030204" pitchFamily="34" charset="0"/>
              </a:rPr>
              <a:t>9</a:t>
            </a:r>
            <a:r>
              <a:rPr lang="en-GB" sz="1800" b="1" dirty="0" smtClean="0">
                <a:latin typeface="Calibri" panose="020F0502020204030204" pitchFamily="34" charset="0"/>
                <a:cs typeface="Calibri" panose="020F0502020204030204" pitchFamily="34" charset="0"/>
              </a:rPr>
              <a:t>. </a:t>
            </a:r>
            <a:r>
              <a:rPr lang="en-GB" sz="1800" b="1" dirty="0">
                <a:latin typeface="Calibri" panose="020F0502020204030204" pitchFamily="34" charset="0"/>
                <a:cs typeface="Calibri" panose="020F0502020204030204" pitchFamily="34" charset="0"/>
              </a:rPr>
              <a:t>Test execution results should be sent to all stakeholders by replying to all on the request mail in the below mentioned format along with the zipped folder of the test result created in present day folder</a:t>
            </a:r>
            <a:r>
              <a:rPr lang="en-GB" sz="1800" dirty="0">
                <a:latin typeface="Calibri" panose="020F0502020204030204" pitchFamily="34" charset="0"/>
                <a:cs typeface="Calibri" panose="020F0502020204030204" pitchFamily="34" charset="0"/>
              </a:rPr>
              <a:t>.</a:t>
            </a:r>
            <a:endParaRPr lang="en-US" sz="1800" dirty="0">
              <a:latin typeface="Calibri" panose="020F0502020204030204" pitchFamily="34" charset="0"/>
              <a:cs typeface="Calibri" panose="020F0502020204030204" pitchFamily="34" charset="0"/>
            </a:endParaRPr>
          </a:p>
          <a:p>
            <a:r>
              <a:rPr lang="en-GB" sz="1400" b="1" dirty="0" smtClean="0"/>
              <a:t> </a:t>
            </a:r>
            <a:endParaRPr lang="en-US" sz="1400" b="1" dirty="0"/>
          </a:p>
        </p:txBody>
      </p:sp>
      <p:pic>
        <p:nvPicPr>
          <p:cNvPr id="12" name="Picture 11"/>
          <p:cNvPicPr/>
          <p:nvPr/>
        </p:nvPicPr>
        <p:blipFill>
          <a:blip r:embed="rId2"/>
          <a:stretch>
            <a:fillRect/>
          </a:stretch>
        </p:blipFill>
        <p:spPr>
          <a:xfrm>
            <a:off x="1334125" y="2155370"/>
            <a:ext cx="9116161" cy="3945627"/>
          </a:xfrm>
          <a:prstGeom prst="rect">
            <a:avLst/>
          </a:prstGeom>
          <a:ln w="3175">
            <a:solidFill>
              <a:schemeClr val="tx1"/>
            </a:solidFill>
          </a:ln>
        </p:spPr>
      </p:pic>
      <p:sp>
        <p:nvSpPr>
          <p:cNvPr id="9" name="Title 1"/>
          <p:cNvSpPr txBox="1">
            <a:spLocks/>
          </p:cNvSpPr>
          <p:nvPr/>
        </p:nvSpPr>
        <p:spPr>
          <a:xfrm>
            <a:off x="560282" y="196931"/>
            <a:ext cx="11013735" cy="863601"/>
          </a:xfrm>
          <a:prstGeom prst="rect">
            <a:avLst/>
          </a:prstGeom>
        </p:spPr>
        <p:txBody>
          <a:bodyPr vert="horz" lIns="0" tIns="0" rIns="0" bIns="0" rtlCol="0" anchor="ctr">
            <a:normAutofit/>
          </a:bodyPr>
          <a:lstStyle>
            <a:lvl1pPr algn="l" defTabSz="914126" rtl="0" eaLnBrk="1" latinLnBrk="0" hangingPunct="1">
              <a:lnSpc>
                <a:spcPct val="90000"/>
              </a:lnSpc>
              <a:spcBef>
                <a:spcPct val="0"/>
              </a:spcBef>
              <a:buNone/>
              <a:defRPr lang="pt-PT" sz="29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en-GB" b="1" dirty="0" smtClean="0"/>
              <a:t>Process Flowchart AS-IS Continued…</a:t>
            </a:r>
            <a:endParaRPr lang="en-US" dirty="0"/>
          </a:p>
        </p:txBody>
      </p:sp>
    </p:spTree>
    <p:extLst>
      <p:ext uri="{BB962C8B-B14F-4D97-AF65-F5344CB8AC3E}">
        <p14:creationId xmlns:p14="http://schemas.microsoft.com/office/powerpoint/2010/main" val="48879132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pPr>
              <a:lnSpc>
                <a:spcPct val="85000"/>
              </a:lnSpc>
            </a:pPr>
            <a:r>
              <a:rPr lang="en-US" smtClean="0">
                <a:solidFill>
                  <a:srgbClr val="0070AD"/>
                </a:solidFill>
              </a:rPr>
              <a:t>Group IT Project Charter Template v14.1 | 01/05/2018</a:t>
            </a:r>
            <a:endParaRPr lang="en-US" dirty="0">
              <a:solidFill>
                <a:srgbClr val="0070AD"/>
              </a:solidFill>
            </a:endParaRPr>
          </a:p>
        </p:txBody>
      </p:sp>
      <p:sp>
        <p:nvSpPr>
          <p:cNvPr id="4" name="Footer Placeholder 3"/>
          <p:cNvSpPr>
            <a:spLocks noGrp="1"/>
          </p:cNvSpPr>
          <p:nvPr>
            <p:ph type="ftr" sz="quarter" idx="15"/>
          </p:nvPr>
        </p:nvSpPr>
        <p:spPr/>
        <p:txBody>
          <a:bodyPr/>
          <a:lstStyle/>
          <a:p>
            <a:r>
              <a:rPr lang="en-US"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smtClean="0">
                <a:solidFill>
                  <a:srgbClr val="E6E7E7">
                    <a:lumMod val="50000"/>
                  </a:srgbClr>
                </a:solidFill>
              </a:rPr>
              <a:pPr/>
              <a:t>26</a:t>
            </a:fld>
            <a:endParaRPr lang="en-US" dirty="0">
              <a:solidFill>
                <a:srgbClr val="E6E7E7">
                  <a:lumMod val="50000"/>
                </a:srgbClr>
              </a:solidFill>
            </a:endParaRPr>
          </a:p>
        </p:txBody>
      </p:sp>
      <p:pic>
        <p:nvPicPr>
          <p:cNvPr id="2" name="Picture 1"/>
          <p:cNvPicPr>
            <a:picLocks noChangeAspect="1"/>
          </p:cNvPicPr>
          <p:nvPr/>
        </p:nvPicPr>
        <p:blipFill>
          <a:blip r:embed="rId2"/>
          <a:stretch>
            <a:fillRect/>
          </a:stretch>
        </p:blipFill>
        <p:spPr>
          <a:xfrm>
            <a:off x="3385455" y="940018"/>
            <a:ext cx="5354278" cy="3836698"/>
          </a:xfrm>
          <a:prstGeom prst="rect">
            <a:avLst/>
          </a:prstGeom>
        </p:spPr>
      </p:pic>
    </p:spTree>
    <p:extLst>
      <p:ext uri="{BB962C8B-B14F-4D97-AF65-F5344CB8AC3E}">
        <p14:creationId xmlns:p14="http://schemas.microsoft.com/office/powerpoint/2010/main" val="184593628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pPr>
              <a:lnSpc>
                <a:spcPct val="85000"/>
              </a:lnSpc>
            </a:pPr>
            <a:r>
              <a:rPr lang="en-US" smtClean="0">
                <a:solidFill>
                  <a:srgbClr val="0070AD"/>
                </a:solidFill>
              </a:rPr>
              <a:t>Group IT Project Charter Template v14.1 | 01/05/2018</a:t>
            </a:r>
            <a:endParaRPr lang="en-US" dirty="0">
              <a:solidFill>
                <a:srgbClr val="0070AD"/>
              </a:solidFill>
            </a:endParaRPr>
          </a:p>
        </p:txBody>
      </p:sp>
      <p:sp>
        <p:nvSpPr>
          <p:cNvPr id="4" name="Footer Placeholder 3"/>
          <p:cNvSpPr>
            <a:spLocks noGrp="1"/>
          </p:cNvSpPr>
          <p:nvPr>
            <p:ph type="ftr" sz="quarter" idx="15"/>
          </p:nvPr>
        </p:nvSpPr>
        <p:spPr/>
        <p:txBody>
          <a:bodyPr/>
          <a:lstStyle/>
          <a:p>
            <a:r>
              <a:rPr lang="en-US"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smtClean="0">
                <a:solidFill>
                  <a:srgbClr val="E6E7E7">
                    <a:lumMod val="50000"/>
                  </a:srgbClr>
                </a:solidFill>
              </a:rPr>
              <a:pPr/>
              <a:t>27</a:t>
            </a:fld>
            <a:endParaRPr lang="en-US" dirty="0">
              <a:solidFill>
                <a:srgbClr val="E6E7E7">
                  <a:lumMod val="50000"/>
                </a:srgbClr>
              </a:solidFill>
            </a:endParaRPr>
          </a:p>
        </p:txBody>
      </p:sp>
      <p:sp>
        <p:nvSpPr>
          <p:cNvPr id="16" name="TextBox 15"/>
          <p:cNvSpPr txBox="1"/>
          <p:nvPr/>
        </p:nvSpPr>
        <p:spPr>
          <a:xfrm>
            <a:off x="3971499" y="2224586"/>
            <a:ext cx="4135271" cy="1107996"/>
          </a:xfrm>
          <a:prstGeom prst="rect">
            <a:avLst/>
          </a:prstGeom>
          <a:noFill/>
        </p:spPr>
        <p:txBody>
          <a:bodyPr wrap="square" rtlCol="0">
            <a:spAutoFit/>
          </a:bodyPr>
          <a:lstStyle/>
          <a:p>
            <a:r>
              <a:rPr lang="en-US" sz="6600" b="1" i="1" dirty="0" smtClean="0">
                <a:solidFill>
                  <a:schemeClr val="accent1"/>
                </a:solidFill>
                <a:latin typeface="Calibri" panose="020F0502020204030204" pitchFamily="34" charset="0"/>
                <a:cs typeface="Calibri" panose="020F0502020204030204" pitchFamily="34" charset="0"/>
              </a:rPr>
              <a:t>Thank You</a:t>
            </a:r>
            <a:endParaRPr lang="en-US" sz="6600" b="1" i="1"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2819619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95333" cy="158751"/>
        </p:xfrm>
        <a:graphic>
          <a:graphicData uri="http://schemas.openxmlformats.org/presentationml/2006/ole">
            <mc:AlternateContent xmlns:mc="http://schemas.openxmlformats.org/markup-compatibility/2006">
              <mc:Choice xmlns:v="urn:schemas-microsoft-com:vml" Requires="v">
                <p:oleObj spid="_x0000_s17737"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95333"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4" name="Slide Number Placeholder 3"/>
          <p:cNvSpPr>
            <a:spLocks noGrp="1"/>
          </p:cNvSpPr>
          <p:nvPr>
            <p:ph type="sldNum" sz="quarter" idx="12"/>
          </p:nvPr>
        </p:nvSpPr>
        <p:spPr/>
        <p:txBody>
          <a:bodyPr/>
          <a:lstStyle/>
          <a:p>
            <a:fld id="{DD205EFF-948D-4AF6-B54C-65639188FB5F}" type="slidenum">
              <a:rPr lang="en-US" smtClean="0">
                <a:solidFill>
                  <a:srgbClr val="E6E7E7">
                    <a:lumMod val="50000"/>
                  </a:srgbClr>
                </a:solidFill>
              </a:rPr>
              <a:pPr/>
              <a:t>3</a:t>
            </a:fld>
            <a:endParaRPr lang="en-US" dirty="0">
              <a:solidFill>
                <a:srgbClr val="E6E7E7">
                  <a:lumMod val="50000"/>
                </a:srgbClr>
              </a:solidFill>
            </a:endParaRPr>
          </a:p>
        </p:txBody>
      </p:sp>
      <p:sp>
        <p:nvSpPr>
          <p:cNvPr id="5" name="Title 6"/>
          <p:cNvSpPr txBox="1">
            <a:spLocks/>
          </p:cNvSpPr>
          <p:nvPr/>
        </p:nvSpPr>
        <p:spPr>
          <a:xfrm>
            <a:off x="779430" y="633845"/>
            <a:ext cx="11125236" cy="865171"/>
          </a:xfrm>
          <a:prstGeom prst="rect">
            <a:avLst/>
          </a:prstGeom>
        </p:spPr>
        <p:txBody>
          <a:bodyPr anchor="ctr"/>
          <a:lstStyle>
            <a:lvl1pPr algn="l" defTabSz="914126" rtl="0" eaLnBrk="1" latinLnBrk="0" hangingPunct="1">
              <a:lnSpc>
                <a:spcPct val="90000"/>
              </a:lnSpc>
              <a:spcBef>
                <a:spcPct val="0"/>
              </a:spcBef>
              <a:buNone/>
              <a:defRPr lang="pt-PT" sz="29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en-US" b="1" dirty="0" smtClean="0"/>
              <a:t>What is RPA?</a:t>
            </a:r>
            <a:endParaRPr lang="en-GB" b="1" dirty="0"/>
          </a:p>
        </p:txBody>
      </p:sp>
      <p:sp>
        <p:nvSpPr>
          <p:cNvPr id="44" name="Date Placeholder 2"/>
          <p:cNvSpPr txBox="1">
            <a:spLocks/>
          </p:cNvSpPr>
          <p:nvPr/>
        </p:nvSpPr>
        <p:spPr>
          <a:xfrm>
            <a:off x="407881" y="6555971"/>
            <a:ext cx="3311138" cy="219456"/>
          </a:xfrm>
          <a:prstGeom prst="rect">
            <a:avLst/>
          </a:prstGeom>
        </p:spPr>
        <p:txBody>
          <a:bodyPr wrap="square" lIns="0" tIns="0" rIns="0" bIns="0" anchor="ctr" anchorCtr="0">
            <a:noAutofit/>
          </a:bodyPr>
          <a:lstStyle>
            <a:defPPr>
              <a:defRPr lang="de-DE"/>
            </a:defPPr>
            <a:lvl1pPr marL="0" algn="l" defTabSz="1088076" rtl="0" eaLnBrk="1" latinLnBrk="0" hangingPunct="1">
              <a:defRPr lang="de-DE" sz="800" kern="0" smtClean="0">
                <a:solidFill>
                  <a:schemeClr val="accent1"/>
                </a:solidFill>
                <a:latin typeface="+mj-lt"/>
                <a:ea typeface="+mn-ea"/>
                <a:cs typeface="Arial" panose="020B0604020202020204" pitchFamily="34" charset="0"/>
              </a:defRPr>
            </a:lvl1pPr>
            <a:lvl2pPr marL="544038" algn="l" defTabSz="1088076" rtl="0" eaLnBrk="1" latinLnBrk="0" hangingPunct="1">
              <a:defRPr sz="2100" kern="1200">
                <a:solidFill>
                  <a:schemeClr val="tx1"/>
                </a:solidFill>
                <a:latin typeface="+mn-lt"/>
                <a:ea typeface="+mn-ea"/>
                <a:cs typeface="+mn-cs"/>
              </a:defRPr>
            </a:lvl2pPr>
            <a:lvl3pPr marL="1088076" algn="l" defTabSz="1088076" rtl="0" eaLnBrk="1" latinLnBrk="0" hangingPunct="1">
              <a:defRPr sz="2100" kern="1200">
                <a:solidFill>
                  <a:schemeClr val="tx1"/>
                </a:solidFill>
                <a:latin typeface="+mn-lt"/>
                <a:ea typeface="+mn-ea"/>
                <a:cs typeface="+mn-cs"/>
              </a:defRPr>
            </a:lvl3pPr>
            <a:lvl4pPr marL="1632113" algn="l" defTabSz="1088076" rtl="0" eaLnBrk="1" latinLnBrk="0" hangingPunct="1">
              <a:defRPr sz="2100" kern="1200">
                <a:solidFill>
                  <a:schemeClr val="tx1"/>
                </a:solidFill>
                <a:latin typeface="+mn-lt"/>
                <a:ea typeface="+mn-ea"/>
                <a:cs typeface="+mn-cs"/>
              </a:defRPr>
            </a:lvl4pPr>
            <a:lvl5pPr marL="2176150" algn="l" defTabSz="1088076" rtl="0" eaLnBrk="1" latinLnBrk="0" hangingPunct="1">
              <a:defRPr sz="2100" kern="1200">
                <a:solidFill>
                  <a:schemeClr val="tx1"/>
                </a:solidFill>
                <a:latin typeface="+mn-lt"/>
                <a:ea typeface="+mn-ea"/>
                <a:cs typeface="+mn-cs"/>
              </a:defRPr>
            </a:lvl5pPr>
            <a:lvl6pPr marL="2720187" algn="l" defTabSz="1088076" rtl="0" eaLnBrk="1" latinLnBrk="0" hangingPunct="1">
              <a:defRPr sz="2100" kern="1200">
                <a:solidFill>
                  <a:schemeClr val="tx1"/>
                </a:solidFill>
                <a:latin typeface="+mn-lt"/>
                <a:ea typeface="+mn-ea"/>
                <a:cs typeface="+mn-cs"/>
              </a:defRPr>
            </a:lvl6pPr>
            <a:lvl7pPr marL="3264223" algn="l" defTabSz="1088076" rtl="0" eaLnBrk="1" latinLnBrk="0" hangingPunct="1">
              <a:defRPr sz="2100" kern="1200">
                <a:solidFill>
                  <a:schemeClr val="tx1"/>
                </a:solidFill>
                <a:latin typeface="+mn-lt"/>
                <a:ea typeface="+mn-ea"/>
                <a:cs typeface="+mn-cs"/>
              </a:defRPr>
            </a:lvl7pPr>
            <a:lvl8pPr marL="3808261" algn="l" defTabSz="1088076" rtl="0" eaLnBrk="1" latinLnBrk="0" hangingPunct="1">
              <a:defRPr sz="2100" kern="1200">
                <a:solidFill>
                  <a:schemeClr val="tx1"/>
                </a:solidFill>
                <a:latin typeface="+mn-lt"/>
                <a:ea typeface="+mn-ea"/>
                <a:cs typeface="+mn-cs"/>
              </a:defRPr>
            </a:lvl8pPr>
            <a:lvl9pPr marL="4352300" algn="l" defTabSz="1088076" rtl="0" eaLnBrk="1" latinLnBrk="0" hangingPunct="1">
              <a:defRPr sz="2100" kern="1200">
                <a:solidFill>
                  <a:schemeClr val="tx1"/>
                </a:solidFill>
                <a:latin typeface="+mn-lt"/>
                <a:ea typeface="+mn-ea"/>
                <a:cs typeface="+mn-cs"/>
              </a:defRPr>
            </a:lvl9pPr>
          </a:lstStyle>
          <a:p>
            <a:pPr marL="0" marR="0" lvl="0" indent="0" algn="l" defTabSz="1088076" rtl="0" eaLnBrk="1" fontAlgn="auto" latinLnBrk="0" hangingPunct="1">
              <a:lnSpc>
                <a:spcPct val="85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0070AD"/>
                </a:solidFill>
                <a:effectLst/>
                <a:uLnTx/>
                <a:uFillTx/>
                <a:latin typeface="Verdana"/>
                <a:ea typeface="+mn-ea"/>
                <a:cs typeface="Arial" panose="020B0604020202020204" pitchFamily="34" charset="0"/>
              </a:rPr>
              <a:t>Group IT Testing Dashboard</a:t>
            </a:r>
            <a:endParaRPr kumimoji="0" lang="en-US" sz="800" b="0" i="0" u="none" strike="noStrike" kern="0" cap="none" spc="0" normalizeH="0" baseline="0" noProof="0" dirty="0">
              <a:ln>
                <a:noFill/>
              </a:ln>
              <a:solidFill>
                <a:srgbClr val="0070AD"/>
              </a:solidFill>
              <a:effectLst/>
              <a:uLnTx/>
              <a:uFillTx/>
              <a:latin typeface="Verdana"/>
              <a:ea typeface="+mn-ea"/>
              <a:cs typeface="Arial" panose="020B0604020202020204" pitchFamily="34" charset="0"/>
            </a:endParaRPr>
          </a:p>
        </p:txBody>
      </p:sp>
      <p:sp>
        <p:nvSpPr>
          <p:cNvPr id="20" name="TextBox 19"/>
          <p:cNvSpPr txBox="1"/>
          <p:nvPr/>
        </p:nvSpPr>
        <p:spPr>
          <a:xfrm>
            <a:off x="1187369" y="1738744"/>
            <a:ext cx="9890362" cy="3354765"/>
          </a:xfrm>
          <a:prstGeom prst="rect">
            <a:avLst/>
          </a:prstGeom>
          <a:noFill/>
        </p:spPr>
        <p:txBody>
          <a:bodyPr wrap="square" rtlCol="0">
            <a:spAutoFit/>
          </a:bodyPr>
          <a:lstStyle/>
          <a:p>
            <a:r>
              <a:rPr lang="en-US" sz="1800" dirty="0">
                <a:latin typeface="Calibri" panose="020F0502020204030204" pitchFamily="34" charset="0"/>
                <a:cs typeface="Calibri" panose="020F0502020204030204" pitchFamily="34" charset="0"/>
              </a:rPr>
              <a:t>The process of automating business operations with the help of robots to reduce human intervention is said to be </a:t>
            </a:r>
            <a:r>
              <a:rPr lang="en-US" sz="1800" b="1" i="1" dirty="0">
                <a:latin typeface="Calibri" panose="020F0502020204030204" pitchFamily="34" charset="0"/>
                <a:cs typeface="Calibri" panose="020F0502020204030204" pitchFamily="34" charset="0"/>
              </a:rPr>
              <a:t>Robotic Process Automation(RPA</a:t>
            </a:r>
            <a:r>
              <a:rPr lang="en-US" sz="1800" b="1" i="1" dirty="0" smtClean="0">
                <a:latin typeface="Calibri" panose="020F0502020204030204" pitchFamily="34" charset="0"/>
                <a:cs typeface="Calibri" panose="020F0502020204030204" pitchFamily="34" charset="0"/>
              </a:rPr>
              <a:t>)</a:t>
            </a:r>
            <a:r>
              <a:rPr lang="en-US" sz="1800" dirty="0" smtClean="0">
                <a:latin typeface="Calibri" panose="020F0502020204030204" pitchFamily="34" charset="0"/>
                <a:cs typeface="Calibri" panose="020F0502020204030204" pitchFamily="34" charset="0"/>
              </a:rPr>
              <a:t>.</a:t>
            </a:r>
          </a:p>
          <a:p>
            <a:endParaRPr lang="en-US" sz="1800" dirty="0" smtClean="0">
              <a:latin typeface="Calibri" panose="020F0502020204030204" pitchFamily="34" charset="0"/>
              <a:cs typeface="Calibri" panose="020F0502020204030204" pitchFamily="34" charset="0"/>
            </a:endParaRPr>
          </a:p>
          <a:p>
            <a:pPr marL="285750" indent="-285750">
              <a:buFont typeface="Wingdings" panose="05000000000000000000" pitchFamily="2" charset="2"/>
              <a:buChar char="Ø"/>
            </a:pPr>
            <a:r>
              <a:rPr lang="en-US" sz="1800" b="1" dirty="0">
                <a:latin typeface="Calibri" panose="020F0502020204030204" pitchFamily="34" charset="0"/>
                <a:cs typeface="Calibri" panose="020F0502020204030204" pitchFamily="34" charset="0"/>
              </a:rPr>
              <a:t>Robotic </a:t>
            </a:r>
            <a:r>
              <a:rPr lang="en-US" sz="1800" dirty="0">
                <a:latin typeface="Calibri" panose="020F0502020204030204" pitchFamily="34" charset="0"/>
                <a:cs typeface="Calibri" panose="020F0502020204030204" pitchFamily="34" charset="0"/>
              </a:rPr>
              <a:t>are entities which mimic human </a:t>
            </a:r>
            <a:r>
              <a:rPr lang="en-US" sz="1800" dirty="0" smtClean="0">
                <a:latin typeface="Calibri" panose="020F0502020204030204" pitchFamily="34" charset="0"/>
                <a:cs typeface="Calibri" panose="020F0502020204030204" pitchFamily="34" charset="0"/>
              </a:rPr>
              <a:t>actions.</a:t>
            </a:r>
            <a:endParaRPr lang="en-US" sz="1800" dirty="0">
              <a:latin typeface="Calibri" panose="020F0502020204030204" pitchFamily="34" charset="0"/>
              <a:cs typeface="Calibri" panose="020F0502020204030204" pitchFamily="34" charset="0"/>
            </a:endParaRPr>
          </a:p>
          <a:p>
            <a:pPr marL="285750" indent="-285750">
              <a:buFont typeface="Wingdings" panose="05000000000000000000" pitchFamily="2" charset="2"/>
              <a:buChar char="Ø"/>
            </a:pPr>
            <a:r>
              <a:rPr lang="en-US" sz="1800" dirty="0">
                <a:latin typeface="Calibri" panose="020F0502020204030204" pitchFamily="34" charset="0"/>
                <a:cs typeface="Calibri" panose="020F0502020204030204" pitchFamily="34" charset="0"/>
              </a:rPr>
              <a:t>A </a:t>
            </a:r>
            <a:r>
              <a:rPr lang="en-US" sz="1800" b="1" dirty="0">
                <a:latin typeface="Calibri" panose="020F0502020204030204" pitchFamily="34" charset="0"/>
                <a:cs typeface="Calibri" panose="020F0502020204030204" pitchFamily="34" charset="0"/>
              </a:rPr>
              <a:t>process</a:t>
            </a:r>
            <a:r>
              <a:rPr lang="en-US" sz="1800" dirty="0">
                <a:latin typeface="Calibri" panose="020F0502020204030204" pitchFamily="34" charset="0"/>
                <a:cs typeface="Calibri" panose="020F0502020204030204" pitchFamily="34" charset="0"/>
              </a:rPr>
              <a:t> is a sequence of steps which lead to meaningful activity. For example, the process of making tea or your favorite dish etc.</a:t>
            </a:r>
          </a:p>
          <a:p>
            <a:pPr marL="285750" indent="-285750" algn="just">
              <a:buFont typeface="Wingdings" panose="05000000000000000000" pitchFamily="2" charset="2"/>
              <a:buChar char="Ø"/>
            </a:pPr>
            <a:r>
              <a:rPr lang="en-US" sz="1800" b="1" dirty="0">
                <a:latin typeface="Calibri" panose="020F0502020204030204" pitchFamily="34" charset="0"/>
                <a:cs typeface="Calibri" panose="020F0502020204030204" pitchFamily="34" charset="0"/>
              </a:rPr>
              <a:t>Automation</a:t>
            </a:r>
            <a:r>
              <a:rPr lang="en-US" sz="1800" dirty="0">
                <a:latin typeface="Calibri" panose="020F0502020204030204" pitchFamily="34" charset="0"/>
                <a:cs typeface="Calibri" panose="020F0502020204030204" pitchFamily="34" charset="0"/>
              </a:rPr>
              <a:t> is any process which is done by a robot without human intervention</a:t>
            </a:r>
            <a:r>
              <a:rPr lang="en-US" sz="1800" dirty="0" smtClean="0">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endParaRPr lang="en-US" sz="1800" dirty="0">
              <a:latin typeface="Calibri" panose="020F0502020204030204" pitchFamily="34" charset="0"/>
              <a:cs typeface="Calibri" panose="020F0502020204030204" pitchFamily="34" charset="0"/>
            </a:endParaRPr>
          </a:p>
          <a:p>
            <a:r>
              <a:rPr lang="en-US" sz="1800" dirty="0">
                <a:latin typeface="Calibri" panose="020F0502020204030204" pitchFamily="34" charset="0"/>
                <a:cs typeface="Calibri" panose="020F0502020204030204" pitchFamily="34" charset="0"/>
              </a:rPr>
              <a:t>So, when we summarize all these terms together, then mimicking human actions to perform a sequence of steps, leading to a meaningful activity, without any human intervention is also known as </a:t>
            </a:r>
            <a:r>
              <a:rPr lang="en-US" sz="1800" b="1" i="1" dirty="0">
                <a:latin typeface="Calibri" panose="020F0502020204030204" pitchFamily="34" charset="0"/>
                <a:cs typeface="Calibri" panose="020F0502020204030204" pitchFamily="34" charset="0"/>
                <a:hlinkClick r:id="rId3"/>
              </a:rPr>
              <a:t>Robotic Process Automation</a:t>
            </a:r>
            <a:r>
              <a:rPr lang="en-US" sz="1800" dirty="0">
                <a:latin typeface="Calibri" panose="020F0502020204030204" pitchFamily="34" charset="0"/>
                <a:cs typeface="Calibri" panose="020F0502020204030204" pitchFamily="34" charset="0"/>
              </a:rPr>
              <a:t>.</a:t>
            </a:r>
          </a:p>
          <a:p>
            <a:endParaRPr lang="en-US" sz="1400" dirty="0" smtClean="0"/>
          </a:p>
        </p:txBody>
      </p:sp>
    </p:spTree>
    <p:extLst>
      <p:ext uri="{BB962C8B-B14F-4D97-AF65-F5344CB8AC3E}">
        <p14:creationId xmlns:p14="http://schemas.microsoft.com/office/powerpoint/2010/main" val="411738742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2445" y="746991"/>
            <a:ext cx="11013735" cy="863601"/>
          </a:xfrm>
        </p:spPr>
        <p:txBody>
          <a:bodyPr anchor="ctr"/>
          <a:lstStyle/>
          <a:p>
            <a:r>
              <a:rPr lang="en-US" b="1" dirty="0"/>
              <a:t>How RPA Works?</a:t>
            </a:r>
            <a:r>
              <a:rPr lang="en-US" dirty="0"/>
              <a:t/>
            </a:r>
            <a:br>
              <a:rPr lang="en-US" dirty="0"/>
            </a:br>
            <a:endParaRPr lang="en-US" dirty="0"/>
          </a:p>
        </p:txBody>
      </p:sp>
      <p:sp>
        <p:nvSpPr>
          <p:cNvPr id="3" name="Date Placeholder 2"/>
          <p:cNvSpPr>
            <a:spLocks noGrp="1"/>
          </p:cNvSpPr>
          <p:nvPr>
            <p:ph type="dt" sz="half" idx="14"/>
          </p:nvPr>
        </p:nvSpPr>
        <p:spPr/>
        <p:txBody>
          <a:bodyPr/>
          <a:lstStyle/>
          <a:p>
            <a:pPr>
              <a:lnSpc>
                <a:spcPct val="85000"/>
              </a:lnSpc>
            </a:pPr>
            <a:r>
              <a:rPr lang="en-US" dirty="0" smtClean="0">
                <a:solidFill>
                  <a:srgbClr val="0070AD"/>
                </a:solidFill>
              </a:rPr>
              <a:t>Group IT Testing Dashboard</a:t>
            </a:r>
            <a:endParaRPr lang="en-US" dirty="0">
              <a:solidFill>
                <a:srgbClr val="0070AD"/>
              </a:solidFill>
            </a:endParaRP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smtClean="0">
                <a:solidFill>
                  <a:srgbClr val="E6E7E7">
                    <a:lumMod val="50000"/>
                  </a:srgbClr>
                </a:solidFill>
              </a:rPr>
              <a:pPr/>
              <a:t>4</a:t>
            </a:fld>
            <a:endParaRPr lang="en-US" dirty="0">
              <a:solidFill>
                <a:srgbClr val="E6E7E7">
                  <a:lumMod val="50000"/>
                </a:srgbClr>
              </a:solidFill>
            </a:endParaRPr>
          </a:p>
        </p:txBody>
      </p:sp>
      <p:sp>
        <p:nvSpPr>
          <p:cNvPr id="6" name="TextBox 5"/>
          <p:cNvSpPr txBox="1"/>
          <p:nvPr/>
        </p:nvSpPr>
        <p:spPr>
          <a:xfrm>
            <a:off x="862445" y="1610592"/>
            <a:ext cx="8894619" cy="3016210"/>
          </a:xfrm>
          <a:prstGeom prst="rect">
            <a:avLst/>
          </a:prstGeom>
          <a:noFill/>
        </p:spPr>
        <p:txBody>
          <a:bodyPr wrap="square" rtlCol="0">
            <a:spAutoFit/>
          </a:bodyPr>
          <a:lstStyle/>
          <a:p>
            <a:pPr marL="285750" indent="-285750" algn="just">
              <a:buFont typeface="Wingdings" panose="05000000000000000000" pitchFamily="2" charset="2"/>
              <a:buChar char="Ø"/>
            </a:pPr>
            <a:r>
              <a:rPr lang="en-US" sz="1800" dirty="0">
                <a:latin typeface="Calibri" panose="020F0502020204030204" pitchFamily="34" charset="0"/>
                <a:cs typeface="Calibri" panose="020F0502020204030204" pitchFamily="34" charset="0"/>
              </a:rPr>
              <a:t>This question has always popped on whether RPA uses physical robots, or are there actual robots present to automate tasks</a:t>
            </a:r>
            <a:r>
              <a:rPr lang="en-US" sz="1800" dirty="0" smtClean="0">
                <a:latin typeface="Calibri" panose="020F0502020204030204" pitchFamily="34" charset="0"/>
                <a:cs typeface="Calibri" panose="020F0502020204030204" pitchFamily="34" charset="0"/>
              </a:rPr>
              <a:t>.</a:t>
            </a:r>
          </a:p>
          <a:p>
            <a:pPr marL="285750" indent="-285750" algn="just">
              <a:buFont typeface="Wingdings" panose="05000000000000000000" pitchFamily="2" charset="2"/>
              <a:buChar char="Ø"/>
            </a:pPr>
            <a:endParaRPr lang="en-US" sz="1800" dirty="0">
              <a:latin typeface="Calibri" panose="020F0502020204030204" pitchFamily="34" charset="0"/>
              <a:cs typeface="Calibri" panose="020F0502020204030204" pitchFamily="34" charset="0"/>
            </a:endParaRPr>
          </a:p>
          <a:p>
            <a:pPr marL="285750" indent="-285750" algn="just">
              <a:buFont typeface="Wingdings" panose="05000000000000000000" pitchFamily="2" charset="2"/>
              <a:buChar char="Ø"/>
            </a:pPr>
            <a:r>
              <a:rPr lang="en-US" sz="1800" dirty="0">
                <a:latin typeface="Calibri" panose="020F0502020204030204" pitchFamily="34" charset="0"/>
                <a:cs typeface="Calibri" panose="020F0502020204030204" pitchFamily="34" charset="0"/>
              </a:rPr>
              <a:t>Well</a:t>
            </a:r>
            <a:r>
              <a:rPr lang="en-US" sz="1800" dirty="0" smtClean="0">
                <a:latin typeface="Calibri" panose="020F0502020204030204" pitchFamily="34" charset="0"/>
                <a:cs typeface="Calibri" panose="020F0502020204030204" pitchFamily="34" charset="0"/>
              </a:rPr>
              <a:t>, </a:t>
            </a:r>
            <a:r>
              <a:rPr lang="en-US" sz="1800" dirty="0">
                <a:latin typeface="Calibri" panose="020F0502020204030204" pitchFamily="34" charset="0"/>
                <a:cs typeface="Calibri" panose="020F0502020204030204" pitchFamily="34" charset="0"/>
              </a:rPr>
              <a:t>RPA does not replace humans with actual robots. But, there are </a:t>
            </a:r>
            <a:r>
              <a:rPr lang="en-US" sz="1800" dirty="0" smtClean="0">
                <a:latin typeface="Calibri" panose="020F0502020204030204" pitchFamily="34" charset="0"/>
                <a:cs typeface="Calibri" panose="020F0502020204030204" pitchFamily="34" charset="0"/>
              </a:rPr>
              <a:t>software's </a:t>
            </a:r>
            <a:r>
              <a:rPr lang="en-US" sz="1800" dirty="0">
                <a:latin typeface="Calibri" panose="020F0502020204030204" pitchFamily="34" charset="0"/>
                <a:cs typeface="Calibri" panose="020F0502020204030204" pitchFamily="34" charset="0"/>
              </a:rPr>
              <a:t>available in the market which let you configure automation workflows to automate your business operations</a:t>
            </a:r>
            <a:r>
              <a:rPr lang="en-US" sz="1800" dirty="0" smtClean="0">
                <a:latin typeface="Calibri" panose="020F0502020204030204" pitchFamily="34" charset="0"/>
                <a:cs typeface="Calibri" panose="020F0502020204030204" pitchFamily="34" charset="0"/>
              </a:rPr>
              <a:t>.</a:t>
            </a:r>
          </a:p>
          <a:p>
            <a:pPr marL="285750" indent="-285750" algn="just">
              <a:buFont typeface="Wingdings" panose="05000000000000000000" pitchFamily="2" charset="2"/>
              <a:buChar char="Ø"/>
            </a:pPr>
            <a:endParaRPr lang="en-US" sz="1800" dirty="0">
              <a:latin typeface="Calibri" panose="020F0502020204030204" pitchFamily="34" charset="0"/>
              <a:cs typeface="Calibri" panose="020F0502020204030204" pitchFamily="34" charset="0"/>
            </a:endParaRPr>
          </a:p>
          <a:p>
            <a:pPr marL="285750" indent="-285750" algn="just">
              <a:buFont typeface="Wingdings" panose="05000000000000000000" pitchFamily="2" charset="2"/>
              <a:buChar char="Ø"/>
            </a:pPr>
            <a:r>
              <a:rPr lang="en-US" sz="1800" dirty="0">
                <a:latin typeface="Calibri" panose="020F0502020204030204" pitchFamily="34" charset="0"/>
                <a:cs typeface="Calibri" panose="020F0502020204030204" pitchFamily="34" charset="0"/>
              </a:rPr>
              <a:t> According to our experts, the demand for </a:t>
            </a:r>
            <a:r>
              <a:rPr lang="en-US" sz="1800" b="1" dirty="0">
                <a:latin typeface="Calibri" panose="020F0502020204030204" pitchFamily="34" charset="0"/>
                <a:cs typeface="Calibri" panose="020F0502020204030204" pitchFamily="34" charset="0"/>
                <a:hlinkClick r:id="rId2"/>
              </a:rPr>
              <a:t>RPA certification training</a:t>
            </a:r>
            <a:r>
              <a:rPr lang="en-US" sz="1800" dirty="0">
                <a:latin typeface="Calibri" panose="020F0502020204030204" pitchFamily="34" charset="0"/>
                <a:cs typeface="Calibri" panose="020F0502020204030204" pitchFamily="34" charset="0"/>
              </a:rPr>
              <a:t> is going to rise by 150% due to the lack of the skill set in the market</a:t>
            </a:r>
            <a:r>
              <a:rPr lang="en-US" sz="1800" dirty="0" smtClean="0">
                <a:latin typeface="Calibri" panose="020F0502020204030204" pitchFamily="34" charset="0"/>
                <a:cs typeface="Calibri" panose="020F0502020204030204" pitchFamily="34" charset="0"/>
              </a:rPr>
              <a:t>.</a:t>
            </a:r>
          </a:p>
          <a:p>
            <a:endParaRPr lang="en-US" sz="1400" dirty="0"/>
          </a:p>
          <a:p>
            <a:endParaRPr lang="en-US" sz="1400" dirty="0" smtClean="0"/>
          </a:p>
        </p:txBody>
      </p:sp>
    </p:spTree>
    <p:extLst>
      <p:ext uri="{BB962C8B-B14F-4D97-AF65-F5344CB8AC3E}">
        <p14:creationId xmlns:p14="http://schemas.microsoft.com/office/powerpoint/2010/main" val="5262484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973" y="684242"/>
            <a:ext cx="11013735" cy="863601"/>
          </a:xfrm>
        </p:spPr>
        <p:txBody>
          <a:bodyPr anchor="ctr"/>
          <a:lstStyle/>
          <a:p>
            <a:r>
              <a:rPr lang="en-US" b="1" dirty="0"/>
              <a:t>How To Get Started With RPA?</a:t>
            </a:r>
            <a:endParaRPr lang="en-US" dirty="0"/>
          </a:p>
        </p:txBody>
      </p:sp>
      <p:sp>
        <p:nvSpPr>
          <p:cNvPr id="3" name="Date Placeholder 2"/>
          <p:cNvSpPr>
            <a:spLocks noGrp="1"/>
          </p:cNvSpPr>
          <p:nvPr>
            <p:ph type="dt" sz="half" idx="14"/>
          </p:nvPr>
        </p:nvSpPr>
        <p:spPr/>
        <p:txBody>
          <a:bodyPr/>
          <a:lstStyle/>
          <a:p>
            <a:pPr>
              <a:lnSpc>
                <a:spcPct val="85000"/>
              </a:lnSpc>
            </a:pPr>
            <a:r>
              <a:rPr lang="en-US" dirty="0">
                <a:solidFill>
                  <a:srgbClr val="0070AD"/>
                </a:solidFill>
              </a:rPr>
              <a:t>Group IT Testing Dashboard</a:t>
            </a: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a:solidFill>
                  <a:srgbClr val="E6E7E7">
                    <a:lumMod val="50000"/>
                  </a:srgbClr>
                </a:solidFill>
              </a:rPr>
              <a:pPr/>
              <a:t>5</a:t>
            </a:fld>
            <a:endParaRPr lang="en-US" dirty="0">
              <a:solidFill>
                <a:srgbClr val="E6E7E7">
                  <a:lumMod val="50000"/>
                </a:srgbClr>
              </a:solidFill>
            </a:endParaRPr>
          </a:p>
        </p:txBody>
      </p:sp>
      <p:sp>
        <p:nvSpPr>
          <p:cNvPr id="7" name="TextBox 6"/>
          <p:cNvSpPr txBox="1"/>
          <p:nvPr/>
        </p:nvSpPr>
        <p:spPr>
          <a:xfrm>
            <a:off x="611020" y="1934072"/>
            <a:ext cx="10151918" cy="3354765"/>
          </a:xfrm>
          <a:prstGeom prst="rect">
            <a:avLst/>
          </a:prstGeom>
          <a:noFill/>
        </p:spPr>
        <p:txBody>
          <a:bodyPr wrap="square" rtlCol="0">
            <a:spAutoFit/>
          </a:bodyPr>
          <a:lstStyle/>
          <a:p>
            <a:pPr algn="just"/>
            <a:r>
              <a:rPr lang="en-US" sz="1800" dirty="0">
                <a:latin typeface="Calibri" panose="020F0502020204030204" pitchFamily="34" charset="0"/>
                <a:cs typeface="Calibri" panose="020F0502020204030204" pitchFamily="34" charset="0"/>
              </a:rPr>
              <a:t>You need to follow the below steps, to get started with RPA</a:t>
            </a:r>
            <a:r>
              <a:rPr lang="en-US" sz="1800" dirty="0" smtClean="0">
                <a:latin typeface="Calibri" panose="020F0502020204030204" pitchFamily="34" charset="0"/>
                <a:cs typeface="Calibri" panose="020F0502020204030204" pitchFamily="34" charset="0"/>
              </a:rPr>
              <a:t>:</a:t>
            </a:r>
          </a:p>
          <a:p>
            <a:pPr algn="just"/>
            <a:endParaRPr lang="en-US" sz="1800" dirty="0">
              <a:latin typeface="Calibri" panose="020F0502020204030204" pitchFamily="34" charset="0"/>
              <a:cs typeface="Calibri" panose="020F0502020204030204" pitchFamily="34" charset="0"/>
            </a:endParaRPr>
          </a:p>
          <a:p>
            <a:pPr algn="just"/>
            <a:endParaRPr lang="en-US" sz="1800" dirty="0">
              <a:latin typeface="Calibri" panose="020F0502020204030204" pitchFamily="34" charset="0"/>
              <a:cs typeface="Calibri" panose="020F0502020204030204" pitchFamily="34" charset="0"/>
            </a:endParaRPr>
          </a:p>
          <a:p>
            <a:pPr algn="just"/>
            <a:r>
              <a:rPr lang="en-US" sz="1800" b="1" dirty="0">
                <a:latin typeface="Calibri" panose="020F0502020204030204" pitchFamily="34" charset="0"/>
                <a:cs typeface="Calibri" panose="020F0502020204030204" pitchFamily="34" charset="0"/>
              </a:rPr>
              <a:t>Step </a:t>
            </a:r>
            <a:r>
              <a:rPr lang="en-US" sz="1800" b="1" dirty="0" smtClean="0">
                <a:latin typeface="Calibri" panose="020F0502020204030204" pitchFamily="34" charset="0"/>
                <a:cs typeface="Calibri" panose="020F0502020204030204" pitchFamily="34" charset="0"/>
              </a:rPr>
              <a:t>1:</a:t>
            </a:r>
            <a:r>
              <a:rPr lang="en-US" sz="1800" b="1" dirty="0">
                <a:latin typeface="Calibri" panose="020F0502020204030204" pitchFamily="34" charset="0"/>
                <a:cs typeface="Calibri" panose="020F0502020204030204" pitchFamily="34" charset="0"/>
              </a:rPr>
              <a:t> </a:t>
            </a:r>
            <a:r>
              <a:rPr lang="en-US" sz="1800" b="1" dirty="0" smtClean="0">
                <a:latin typeface="Calibri" panose="020F0502020204030204" pitchFamily="34" charset="0"/>
                <a:cs typeface="Calibri" panose="020F0502020204030204" pitchFamily="34" charset="0"/>
              </a:rPr>
              <a:t>	</a:t>
            </a:r>
            <a:r>
              <a:rPr lang="en-US" sz="1800" dirty="0" smtClean="0">
                <a:latin typeface="Calibri" panose="020F0502020204030204" pitchFamily="34" charset="0"/>
                <a:cs typeface="Calibri" panose="020F0502020204030204" pitchFamily="34" charset="0"/>
              </a:rPr>
              <a:t>Learn </a:t>
            </a:r>
            <a:r>
              <a:rPr lang="en-US" sz="1800" dirty="0">
                <a:latin typeface="Calibri" panose="020F0502020204030204" pitchFamily="34" charset="0"/>
                <a:cs typeface="Calibri" panose="020F0502020204030204" pitchFamily="34" charset="0"/>
              </a:rPr>
              <a:t>about </a:t>
            </a:r>
            <a:r>
              <a:rPr lang="en-US" sz="1800" dirty="0" smtClean="0">
                <a:latin typeface="Calibri" panose="020F0502020204030204" pitchFamily="34" charset="0"/>
                <a:cs typeface="Calibri" panose="020F0502020204030204" pitchFamily="34" charset="0"/>
              </a:rPr>
              <a:t>UI-Path referring to the site :</a:t>
            </a:r>
            <a:r>
              <a:rPr lang="en-US" sz="1800" b="1" dirty="0">
                <a:latin typeface="Calibri" panose="020F0502020204030204" pitchFamily="34" charset="0"/>
                <a:cs typeface="Calibri" panose="020F0502020204030204" pitchFamily="34" charset="0"/>
                <a:hlinkClick r:id="rId2"/>
              </a:rPr>
              <a:t>https://</a:t>
            </a:r>
            <a:r>
              <a:rPr lang="en-US" sz="1800" b="1" dirty="0" smtClean="0">
                <a:latin typeface="Calibri" panose="020F0502020204030204" pitchFamily="34" charset="0"/>
                <a:cs typeface="Calibri" panose="020F0502020204030204" pitchFamily="34" charset="0"/>
                <a:hlinkClick r:id="rId2"/>
              </a:rPr>
              <a:t>academy.uipath.com/learn</a:t>
            </a:r>
            <a:r>
              <a:rPr lang="en-US" sz="1800" b="1" dirty="0" smtClean="0">
                <a:latin typeface="Calibri" panose="020F0502020204030204" pitchFamily="34" charset="0"/>
                <a:cs typeface="Calibri" panose="020F0502020204030204" pitchFamily="34" charset="0"/>
              </a:rPr>
              <a:t> </a:t>
            </a:r>
            <a:endParaRPr lang="en-US" sz="1800" dirty="0" smtClean="0">
              <a:latin typeface="Calibri" panose="020F0502020204030204" pitchFamily="34" charset="0"/>
              <a:cs typeface="Calibri" panose="020F0502020204030204" pitchFamily="34" charset="0"/>
            </a:endParaRPr>
          </a:p>
          <a:p>
            <a:pPr algn="just"/>
            <a:endParaRPr lang="en-US" sz="1800" dirty="0">
              <a:latin typeface="Calibri" panose="020F0502020204030204" pitchFamily="34" charset="0"/>
              <a:cs typeface="Calibri" panose="020F0502020204030204" pitchFamily="34" charset="0"/>
            </a:endParaRPr>
          </a:p>
          <a:p>
            <a:pPr algn="just"/>
            <a:r>
              <a:rPr lang="en-US" sz="1800" b="1" dirty="0">
                <a:latin typeface="Calibri" panose="020F0502020204030204" pitchFamily="34" charset="0"/>
                <a:cs typeface="Calibri" panose="020F0502020204030204" pitchFamily="34" charset="0"/>
              </a:rPr>
              <a:t>Step </a:t>
            </a:r>
            <a:r>
              <a:rPr lang="en-US" sz="1800" b="1" dirty="0" smtClean="0">
                <a:latin typeface="Calibri" panose="020F0502020204030204" pitchFamily="34" charset="0"/>
                <a:cs typeface="Calibri" panose="020F0502020204030204" pitchFamily="34" charset="0"/>
              </a:rPr>
              <a:t>2:</a:t>
            </a:r>
            <a:r>
              <a:rPr lang="en-US" sz="1800" b="1" dirty="0">
                <a:latin typeface="Calibri" panose="020F0502020204030204" pitchFamily="34" charset="0"/>
                <a:cs typeface="Calibri" panose="020F0502020204030204" pitchFamily="34" charset="0"/>
              </a:rPr>
              <a:t> </a:t>
            </a:r>
            <a:r>
              <a:rPr lang="en-US" sz="1800" b="1" dirty="0" smtClean="0">
                <a:latin typeface="Calibri" panose="020F0502020204030204" pitchFamily="34" charset="0"/>
                <a:cs typeface="Calibri" panose="020F0502020204030204" pitchFamily="34" charset="0"/>
              </a:rPr>
              <a:t>	</a:t>
            </a:r>
            <a:r>
              <a:rPr lang="en-US" sz="1800" dirty="0" smtClean="0">
                <a:latin typeface="Calibri" panose="020F0502020204030204" pitchFamily="34" charset="0"/>
                <a:cs typeface="Calibri" panose="020F0502020204030204" pitchFamily="34" charset="0"/>
              </a:rPr>
              <a:t>Choose </a:t>
            </a:r>
            <a:r>
              <a:rPr lang="en-US" sz="1800" dirty="0">
                <a:latin typeface="Calibri" panose="020F0502020204030204" pitchFamily="34" charset="0"/>
                <a:cs typeface="Calibri" panose="020F0502020204030204" pitchFamily="34" charset="0"/>
              </a:rPr>
              <a:t>the process that you wish to automate, and retrospect about the process </a:t>
            </a:r>
            <a:r>
              <a:rPr lang="en-US" sz="1800" dirty="0" smtClean="0">
                <a:latin typeface="Calibri" panose="020F0502020204030204" pitchFamily="34" charset="0"/>
                <a:cs typeface="Calibri" panose="020F0502020204030204" pitchFamily="34" charset="0"/>
              </a:rPr>
              <a:t>	dependencies. This </a:t>
            </a:r>
            <a:r>
              <a:rPr lang="en-US" sz="1800" dirty="0">
                <a:latin typeface="Calibri" panose="020F0502020204030204" pitchFamily="34" charset="0"/>
                <a:cs typeface="Calibri" panose="020F0502020204030204" pitchFamily="34" charset="0"/>
              </a:rPr>
              <a:t>is a way to make sure that your business doesn’t suffer loss while you </a:t>
            </a:r>
            <a:r>
              <a:rPr lang="en-US" sz="1800" dirty="0" smtClean="0">
                <a:latin typeface="Calibri" panose="020F0502020204030204" pitchFamily="34" charset="0"/>
                <a:cs typeface="Calibri" panose="020F0502020204030204" pitchFamily="34" charset="0"/>
              </a:rPr>
              <a:t> are 	busy automating </a:t>
            </a:r>
            <a:r>
              <a:rPr lang="en-US" sz="1800" dirty="0">
                <a:latin typeface="Calibri" panose="020F0502020204030204" pitchFamily="34" charset="0"/>
                <a:cs typeface="Calibri" panose="020F0502020204030204" pitchFamily="34" charset="0"/>
              </a:rPr>
              <a:t>the task</a:t>
            </a:r>
            <a:r>
              <a:rPr lang="en-US" sz="1800" dirty="0" smtClean="0">
                <a:latin typeface="Calibri" panose="020F0502020204030204" pitchFamily="34" charset="0"/>
                <a:cs typeface="Calibri" panose="020F0502020204030204" pitchFamily="34" charset="0"/>
              </a:rPr>
              <a:t>.</a:t>
            </a:r>
          </a:p>
          <a:p>
            <a:pPr algn="just"/>
            <a:endParaRPr lang="en-US" sz="1800" dirty="0">
              <a:latin typeface="Calibri" panose="020F0502020204030204" pitchFamily="34" charset="0"/>
              <a:cs typeface="Calibri" panose="020F0502020204030204" pitchFamily="34" charset="0"/>
            </a:endParaRPr>
          </a:p>
          <a:p>
            <a:pPr algn="just"/>
            <a:r>
              <a:rPr lang="en-US" sz="1800" b="1" dirty="0">
                <a:latin typeface="Calibri" panose="020F0502020204030204" pitchFamily="34" charset="0"/>
                <a:cs typeface="Calibri" panose="020F0502020204030204" pitchFamily="34" charset="0"/>
              </a:rPr>
              <a:t>Step </a:t>
            </a:r>
            <a:r>
              <a:rPr lang="en-US" sz="1800" b="1" dirty="0" smtClean="0">
                <a:latin typeface="Calibri" panose="020F0502020204030204" pitchFamily="34" charset="0"/>
                <a:cs typeface="Calibri" panose="020F0502020204030204" pitchFamily="34" charset="0"/>
              </a:rPr>
              <a:t>3:</a:t>
            </a:r>
            <a:r>
              <a:rPr lang="en-US" sz="1800" dirty="0">
                <a:latin typeface="Calibri" panose="020F0502020204030204" pitchFamily="34" charset="0"/>
                <a:cs typeface="Calibri" panose="020F0502020204030204" pitchFamily="34" charset="0"/>
              </a:rPr>
              <a:t> </a:t>
            </a:r>
            <a:r>
              <a:rPr lang="en-US" sz="1800" dirty="0" smtClean="0">
                <a:latin typeface="Calibri" panose="020F0502020204030204" pitchFamily="34" charset="0"/>
                <a:cs typeface="Calibri" panose="020F0502020204030204" pitchFamily="34" charset="0"/>
              </a:rPr>
              <a:t>	Gain </a:t>
            </a:r>
            <a:r>
              <a:rPr lang="en-US" sz="1800" dirty="0">
                <a:latin typeface="Calibri" panose="020F0502020204030204" pitchFamily="34" charset="0"/>
                <a:cs typeface="Calibri" panose="020F0502020204030204" pitchFamily="34" charset="0"/>
              </a:rPr>
              <a:t>extensive hands-on experience in RPA Tools, such as UiPath, Blue Prism, and Automation </a:t>
            </a:r>
            <a:r>
              <a:rPr lang="en-US" sz="1800" dirty="0" smtClean="0">
                <a:latin typeface="Calibri" panose="020F0502020204030204" pitchFamily="34" charset="0"/>
                <a:cs typeface="Calibri" panose="020F0502020204030204" pitchFamily="34" charset="0"/>
              </a:rPr>
              <a:t>	Anywhere</a:t>
            </a:r>
            <a:r>
              <a:rPr lang="en-US" sz="1800" dirty="0">
                <a:latin typeface="Calibri" panose="020F0502020204030204" pitchFamily="34" charset="0"/>
                <a:cs typeface="Calibri" panose="020F0502020204030204" pitchFamily="34" charset="0"/>
              </a:rPr>
              <a:t>.</a:t>
            </a:r>
          </a:p>
          <a:p>
            <a:endParaRPr lang="en-US" sz="1400" dirty="0" smtClean="0"/>
          </a:p>
        </p:txBody>
      </p:sp>
    </p:spTree>
    <p:extLst>
      <p:ext uri="{BB962C8B-B14F-4D97-AF65-F5344CB8AC3E}">
        <p14:creationId xmlns:p14="http://schemas.microsoft.com/office/powerpoint/2010/main" val="6999721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5700" y="457258"/>
            <a:ext cx="11013735" cy="863601"/>
          </a:xfrm>
        </p:spPr>
        <p:txBody>
          <a:bodyPr anchor="ctr"/>
          <a:lstStyle/>
          <a:p>
            <a:r>
              <a:rPr lang="en-US" b="1" dirty="0"/>
              <a:t>RPA Tools</a:t>
            </a:r>
            <a:endParaRPr lang="en-US" dirty="0"/>
          </a:p>
        </p:txBody>
      </p:sp>
      <p:sp>
        <p:nvSpPr>
          <p:cNvPr id="3" name="Date Placeholder 2"/>
          <p:cNvSpPr>
            <a:spLocks noGrp="1"/>
          </p:cNvSpPr>
          <p:nvPr>
            <p:ph type="dt" sz="half" idx="14"/>
          </p:nvPr>
        </p:nvSpPr>
        <p:spPr/>
        <p:txBody>
          <a:bodyPr/>
          <a:lstStyle/>
          <a:p>
            <a:pPr>
              <a:lnSpc>
                <a:spcPct val="85000"/>
              </a:lnSpc>
            </a:pPr>
            <a:r>
              <a:rPr lang="en-US" dirty="0">
                <a:solidFill>
                  <a:srgbClr val="0070AD"/>
                </a:solidFill>
              </a:rPr>
              <a:t>Group IT Testing Dashboard</a:t>
            </a: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a:solidFill>
                  <a:srgbClr val="E6E7E7">
                    <a:lumMod val="50000"/>
                  </a:srgbClr>
                </a:solidFill>
              </a:rPr>
              <a:pPr/>
              <a:t>6</a:t>
            </a:fld>
            <a:endParaRPr lang="en-US" dirty="0">
              <a:solidFill>
                <a:srgbClr val="E6E7E7">
                  <a:lumMod val="50000"/>
                </a:srgbClr>
              </a:solidFill>
            </a:endParaRPr>
          </a:p>
        </p:txBody>
      </p:sp>
      <p:sp>
        <p:nvSpPr>
          <p:cNvPr id="6" name="TextBox 5"/>
          <p:cNvSpPr txBox="1"/>
          <p:nvPr/>
        </p:nvSpPr>
        <p:spPr>
          <a:xfrm>
            <a:off x="407882" y="1548971"/>
            <a:ext cx="10936070" cy="2492990"/>
          </a:xfrm>
          <a:prstGeom prst="rect">
            <a:avLst/>
          </a:prstGeom>
          <a:noFill/>
        </p:spPr>
        <p:txBody>
          <a:bodyPr wrap="square" rtlCol="0">
            <a:spAutoFit/>
          </a:bodyPr>
          <a:lstStyle/>
          <a:p>
            <a:r>
              <a:rPr lang="en-US" sz="1800" dirty="0">
                <a:latin typeface="Calibri" panose="020F0502020204030204" pitchFamily="34" charset="0"/>
                <a:cs typeface="Calibri" panose="020F0502020204030204" pitchFamily="34" charset="0"/>
              </a:rPr>
              <a:t>RPA Tools/Vendors are the software through which you can configure tasks to get automated. In today’s market, there are RPA Vendors such as Blue Prism, Automation Anywhere, UiPath, WorkFusion, Pega Systems and many more. But, the leaders in the market are the trio (</a:t>
            </a:r>
            <a:r>
              <a:rPr lang="en-US" sz="1800" b="1" i="1" dirty="0">
                <a:latin typeface="Calibri" panose="020F0502020204030204" pitchFamily="34" charset="0"/>
                <a:cs typeface="Calibri" panose="020F0502020204030204" pitchFamily="34" charset="0"/>
              </a:rPr>
              <a:t>UiPath</a:t>
            </a:r>
            <a:r>
              <a:rPr lang="en-US" sz="1800" dirty="0">
                <a:latin typeface="Calibri" panose="020F0502020204030204" pitchFamily="34" charset="0"/>
                <a:cs typeface="Calibri" panose="020F0502020204030204" pitchFamily="34" charset="0"/>
              </a:rPr>
              <a:t>, </a:t>
            </a:r>
            <a:r>
              <a:rPr lang="en-US" sz="1800" b="1" i="1" dirty="0">
                <a:latin typeface="Calibri" panose="020F0502020204030204" pitchFamily="34" charset="0"/>
                <a:cs typeface="Calibri" panose="020F0502020204030204" pitchFamily="34" charset="0"/>
              </a:rPr>
              <a:t>Blue Prism</a:t>
            </a:r>
            <a:r>
              <a:rPr lang="en-US" sz="1800" dirty="0">
                <a:latin typeface="Calibri" panose="020F0502020204030204" pitchFamily="34" charset="0"/>
                <a:cs typeface="Calibri" panose="020F0502020204030204" pitchFamily="34" charset="0"/>
              </a:rPr>
              <a:t> &amp; </a:t>
            </a:r>
            <a:r>
              <a:rPr lang="en-US" sz="1800" b="1" i="1" dirty="0">
                <a:latin typeface="Calibri" panose="020F0502020204030204" pitchFamily="34" charset="0"/>
                <a:cs typeface="Calibri" panose="020F0502020204030204" pitchFamily="34" charset="0"/>
              </a:rPr>
              <a:t>Automation Anywhere</a:t>
            </a:r>
            <a:r>
              <a:rPr lang="en-US" sz="1800" dirty="0">
                <a:latin typeface="Calibri" panose="020F0502020204030204" pitchFamily="34" charset="0"/>
                <a:cs typeface="Calibri" panose="020F0502020204030204" pitchFamily="34" charset="0"/>
              </a:rPr>
              <a:t>). Refer to the below Forester Research on RPA, to know the current ranking of various </a:t>
            </a:r>
            <a:r>
              <a:rPr lang="en-US" sz="1800" b="1" i="1" dirty="0">
                <a:latin typeface="Calibri" panose="020F0502020204030204" pitchFamily="34" charset="0"/>
                <a:cs typeface="Calibri" panose="020F0502020204030204" pitchFamily="34" charset="0"/>
                <a:hlinkClick r:id="rId2"/>
              </a:rPr>
              <a:t>RPA Tools</a:t>
            </a:r>
            <a:r>
              <a:rPr lang="en-US" sz="1800" dirty="0" smtClean="0">
                <a:latin typeface="Calibri" panose="020F0502020204030204" pitchFamily="34" charset="0"/>
                <a:cs typeface="Calibri" panose="020F0502020204030204" pitchFamily="34" charset="0"/>
              </a:rPr>
              <a:t>.</a:t>
            </a:r>
          </a:p>
          <a:p>
            <a:endParaRPr lang="en-US" sz="1400" dirty="0"/>
          </a:p>
          <a:p>
            <a:endParaRPr lang="en-US" sz="1400" dirty="0" smtClean="0"/>
          </a:p>
          <a:p>
            <a:endParaRPr lang="en-US" sz="1400" dirty="0"/>
          </a:p>
          <a:p>
            <a:endParaRPr lang="en-US" sz="1400" dirty="0" smtClean="0"/>
          </a:p>
          <a:p>
            <a:endParaRPr lang="en-US" sz="1400" dirty="0"/>
          </a:p>
          <a:p>
            <a:endParaRPr lang="en-US" sz="1400" dirty="0" smtClean="0"/>
          </a:p>
        </p:txBody>
      </p:sp>
      <p:pic>
        <p:nvPicPr>
          <p:cNvPr id="14" name="Picture 4" descr="Competitors-What is RPA-Edurek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68249" y="3038971"/>
            <a:ext cx="6160957" cy="31669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06312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6035" y="380176"/>
            <a:ext cx="11013735" cy="863601"/>
          </a:xfrm>
        </p:spPr>
        <p:txBody>
          <a:bodyPr anchor="ctr"/>
          <a:lstStyle/>
          <a:p>
            <a:r>
              <a:rPr lang="en-US" b="1" dirty="0"/>
              <a:t>Comparison of top </a:t>
            </a:r>
            <a:r>
              <a:rPr lang="en-US" b="1" dirty="0" smtClean="0"/>
              <a:t>Tools</a:t>
            </a:r>
            <a:endParaRPr lang="en-US" dirty="0"/>
          </a:p>
        </p:txBody>
      </p:sp>
      <p:sp>
        <p:nvSpPr>
          <p:cNvPr id="3" name="Date Placeholder 2"/>
          <p:cNvSpPr>
            <a:spLocks noGrp="1"/>
          </p:cNvSpPr>
          <p:nvPr>
            <p:ph type="dt" sz="half" idx="14"/>
          </p:nvPr>
        </p:nvSpPr>
        <p:spPr/>
        <p:txBody>
          <a:bodyPr/>
          <a:lstStyle/>
          <a:p>
            <a:pPr>
              <a:lnSpc>
                <a:spcPct val="85000"/>
              </a:lnSpc>
            </a:pPr>
            <a:r>
              <a:rPr lang="en-US" dirty="0">
                <a:solidFill>
                  <a:srgbClr val="0070AD"/>
                </a:solidFill>
              </a:rPr>
              <a:t>Group IT Testing Dashboard</a:t>
            </a: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a:solidFill>
                  <a:srgbClr val="E6E7E7">
                    <a:lumMod val="50000"/>
                  </a:srgbClr>
                </a:solidFill>
              </a:rPr>
              <a:pPr/>
              <a:t>7</a:t>
            </a:fld>
            <a:endParaRPr lang="en-US" dirty="0">
              <a:solidFill>
                <a:srgbClr val="E6E7E7">
                  <a:lumMod val="50000"/>
                </a:srgbClr>
              </a:solidFill>
            </a:endParaRPr>
          </a:p>
        </p:txBody>
      </p:sp>
      <p:sp>
        <p:nvSpPr>
          <p:cNvPr id="6" name="TextBox 5"/>
          <p:cNvSpPr txBox="1"/>
          <p:nvPr/>
        </p:nvSpPr>
        <p:spPr>
          <a:xfrm>
            <a:off x="407880" y="1605517"/>
            <a:ext cx="10511757" cy="1138773"/>
          </a:xfrm>
          <a:prstGeom prst="rect">
            <a:avLst/>
          </a:prstGeom>
          <a:noFill/>
        </p:spPr>
        <p:txBody>
          <a:bodyPr wrap="square" rtlCol="0">
            <a:spAutoFit/>
          </a:bodyPr>
          <a:lstStyle/>
          <a:p>
            <a:r>
              <a:rPr lang="en-US" sz="1800" dirty="0">
                <a:latin typeface="Calibri" panose="020F0502020204030204" pitchFamily="34" charset="0"/>
                <a:cs typeface="Calibri" panose="020F0502020204030204" pitchFamily="34" charset="0"/>
              </a:rPr>
              <a:t>As I mentioned before the leaders in the RPA market are UiPath, Blue Prism, and Automation Anywhere. These tools are the most widely used tools in the industry for various purposes. These tools have their own advantages and drawbacks.</a:t>
            </a:r>
          </a:p>
          <a:p>
            <a:endParaRPr lang="en-US" sz="1400" dirty="0" smtClean="0"/>
          </a:p>
        </p:txBody>
      </p:sp>
      <p:graphicFrame>
        <p:nvGraphicFramePr>
          <p:cNvPr id="15" name="Table 14"/>
          <p:cNvGraphicFramePr>
            <a:graphicFrameLocks noGrp="1"/>
          </p:cNvGraphicFramePr>
          <p:nvPr>
            <p:extLst>
              <p:ext uri="{D42A27DB-BD31-4B8C-83A1-F6EECF244321}">
                <p14:modId xmlns:p14="http://schemas.microsoft.com/office/powerpoint/2010/main" val="4063857908"/>
              </p:ext>
            </p:extLst>
          </p:nvPr>
        </p:nvGraphicFramePr>
        <p:xfrm>
          <a:off x="1454944" y="2981325"/>
          <a:ext cx="9464692" cy="2130320"/>
        </p:xfrm>
        <a:graphic>
          <a:graphicData uri="http://schemas.openxmlformats.org/drawingml/2006/table">
            <a:tbl>
              <a:tblPr/>
              <a:tblGrid>
                <a:gridCol w="1942139"/>
                <a:gridCol w="2188144"/>
                <a:gridCol w="2524781"/>
                <a:gridCol w="2809628"/>
              </a:tblGrid>
              <a:tr h="346796">
                <a:tc>
                  <a:txBody>
                    <a:bodyPr/>
                    <a:lstStyle/>
                    <a:p>
                      <a:pPr algn="ctr" fontAlgn="ctr"/>
                      <a:r>
                        <a:rPr lang="en-US" sz="1200" b="1" i="0" u="none" strike="noStrike" dirty="0">
                          <a:solidFill>
                            <a:srgbClr val="FFFFFF"/>
                          </a:solidFill>
                          <a:effectLst/>
                          <a:latin typeface="Calibri" panose="020F0502020204030204" pitchFamily="34" charset="0"/>
                          <a:cs typeface="Calibri" panose="020F0502020204030204" pitchFamily="34" charset="0"/>
                        </a:rPr>
                        <a:t>Featur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DD9"/>
                    </a:solidFill>
                  </a:tcPr>
                </a:tc>
                <a:tc>
                  <a:txBody>
                    <a:bodyPr/>
                    <a:lstStyle/>
                    <a:p>
                      <a:pPr algn="ctr" fontAlgn="ctr"/>
                      <a:r>
                        <a:rPr lang="en-US" sz="1200" b="1" i="0" u="none" strike="noStrike" dirty="0">
                          <a:solidFill>
                            <a:srgbClr val="FFFFFF"/>
                          </a:solidFill>
                          <a:effectLst/>
                          <a:latin typeface="Calibri" panose="020F0502020204030204" pitchFamily="34" charset="0"/>
                          <a:cs typeface="Calibri" panose="020F0502020204030204" pitchFamily="34" charset="0"/>
                        </a:rPr>
                        <a:t>UI- Pat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DD9"/>
                    </a:solidFill>
                  </a:tcPr>
                </a:tc>
                <a:tc>
                  <a:txBody>
                    <a:bodyPr/>
                    <a:lstStyle/>
                    <a:p>
                      <a:pPr algn="ctr" fontAlgn="ctr"/>
                      <a:r>
                        <a:rPr lang="en-US" sz="1200" b="1" i="0" u="none" strike="noStrike" dirty="0">
                          <a:solidFill>
                            <a:srgbClr val="FFFFFF"/>
                          </a:solidFill>
                          <a:effectLst/>
                          <a:latin typeface="Calibri" panose="020F0502020204030204" pitchFamily="34" charset="0"/>
                          <a:cs typeface="Calibri" panose="020F0502020204030204" pitchFamily="34" charset="0"/>
                        </a:rPr>
                        <a:t>Blue Pris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DD9"/>
                    </a:solidFill>
                  </a:tcPr>
                </a:tc>
                <a:tc>
                  <a:txBody>
                    <a:bodyPr/>
                    <a:lstStyle/>
                    <a:p>
                      <a:pPr algn="ctr" fontAlgn="ctr"/>
                      <a:r>
                        <a:rPr lang="en-US" sz="1200" b="1" i="0" u="none" strike="noStrike" dirty="0">
                          <a:solidFill>
                            <a:srgbClr val="FFFFFF"/>
                          </a:solidFill>
                          <a:effectLst/>
                          <a:latin typeface="Calibri" panose="020F0502020204030204" pitchFamily="34" charset="0"/>
                          <a:cs typeface="Calibri" panose="020F0502020204030204" pitchFamily="34" charset="0"/>
                        </a:rPr>
                        <a:t>Automation Anywhe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8DD9"/>
                    </a:solidFill>
                  </a:tcPr>
                </a:tc>
              </a:tr>
              <a:tr h="594508">
                <a:tc>
                  <a:txBody>
                    <a:bodyPr/>
                    <a:lstStyle/>
                    <a:p>
                      <a:pPr algn="ctr" fontAlgn="t"/>
                      <a:r>
                        <a:rPr lang="en-US" sz="1200" b="1" i="0" u="none" strike="noStrike" dirty="0">
                          <a:solidFill>
                            <a:srgbClr val="4A4A4A"/>
                          </a:solidFill>
                          <a:effectLst/>
                          <a:latin typeface="Calibri" panose="020F0502020204030204" pitchFamily="34" charset="0"/>
                          <a:cs typeface="Calibri" panose="020F0502020204030204" pitchFamily="34" charset="0"/>
                        </a:rPr>
                        <a:t>Is trial version availabl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rgbClr val="4A4A4A"/>
                          </a:solidFill>
                          <a:effectLst/>
                          <a:latin typeface="Calibri" panose="020F0502020204030204" pitchFamily="34" charset="0"/>
                          <a:cs typeface="Calibri" panose="020F0502020204030204" pitchFamily="34" charset="0"/>
                        </a:rPr>
                        <a:t>Community edition/ Free edition  is availabl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rgbClr val="4A4A4A"/>
                          </a:solidFill>
                          <a:effectLst/>
                          <a:latin typeface="Calibri" panose="020F0502020204030204" pitchFamily="34" charset="0"/>
                          <a:cs typeface="Calibri" panose="020F0502020204030204" pitchFamily="34" charset="0"/>
                        </a:rPr>
                        <a:t>No trial version availabl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rgbClr val="4A4A4A"/>
                          </a:solidFill>
                          <a:effectLst/>
                          <a:latin typeface="Calibri" panose="020F0502020204030204" pitchFamily="34" charset="0"/>
                          <a:cs typeface="Calibri" panose="020F0502020204030204" pitchFamily="34" charset="0"/>
                        </a:rPr>
                        <a:t>A trial version is available for 30 day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94508">
                <a:tc>
                  <a:txBody>
                    <a:bodyPr/>
                    <a:lstStyle/>
                    <a:p>
                      <a:pPr algn="ctr" fontAlgn="t"/>
                      <a:r>
                        <a:rPr lang="en-US" sz="1200" b="1" i="0" u="none" strike="noStrike" dirty="0">
                          <a:solidFill>
                            <a:srgbClr val="4A4A4A"/>
                          </a:solidFill>
                          <a:effectLst/>
                          <a:latin typeface="Calibri" panose="020F0502020204030204" pitchFamily="34" charset="0"/>
                          <a:cs typeface="Calibri" panose="020F0502020204030204" pitchFamily="34" charset="0"/>
                        </a:rPr>
                        <a:t>Is it user-friendly?</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rgbClr val="4A4A4A"/>
                          </a:solidFill>
                          <a:effectLst/>
                          <a:latin typeface="Calibri" panose="020F0502020204030204" pitchFamily="34" charset="0"/>
                          <a:cs typeface="Calibri" panose="020F0502020204030204" pitchFamily="34" charset="0"/>
                        </a:rPr>
                        <a:t>Provides the user-friendly visual </a:t>
                      </a:r>
                      <a:r>
                        <a:rPr lang="en-US" sz="1200" b="0" i="0" u="none" strike="noStrike" dirty="0" smtClean="0">
                          <a:solidFill>
                            <a:srgbClr val="4A4A4A"/>
                          </a:solidFill>
                          <a:effectLst/>
                          <a:latin typeface="Calibri" panose="020F0502020204030204" pitchFamily="34" charset="0"/>
                          <a:cs typeface="Calibri" panose="020F0502020204030204" pitchFamily="34" charset="0"/>
                        </a:rPr>
                        <a:t>design</a:t>
                      </a:r>
                      <a:endParaRPr lang="en-US" sz="1200" b="0" i="0" u="none" strike="noStrike" dirty="0">
                        <a:solidFill>
                          <a:srgbClr val="4A4A4A"/>
                        </a:solidFill>
                        <a:effectLst/>
                        <a:latin typeface="Calibri" panose="020F0502020204030204" pitchFamily="34" charset="0"/>
                        <a:cs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rgbClr val="4A4A4A"/>
                          </a:solidFill>
                          <a:effectLst/>
                          <a:latin typeface="Calibri" panose="020F0502020204030204" pitchFamily="34" charset="0"/>
                          <a:cs typeface="Calibri" panose="020F0502020204030204" pitchFamily="34" charset="0"/>
                        </a:rPr>
                        <a:t>Provides a user-friendly visual designer, easier than Automation Anywher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rgbClr val="4A4A4A"/>
                          </a:solidFill>
                          <a:effectLst/>
                          <a:latin typeface="Calibri" panose="020F0502020204030204" pitchFamily="34" charset="0"/>
                          <a:cs typeface="Calibri" panose="020F0502020204030204" pitchFamily="34" charset="0"/>
                        </a:rPr>
                        <a:t>Developers friendly but requires high programming skill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94508">
                <a:tc>
                  <a:txBody>
                    <a:bodyPr/>
                    <a:lstStyle/>
                    <a:p>
                      <a:pPr algn="ctr" fontAlgn="t"/>
                      <a:r>
                        <a:rPr lang="en-US" sz="1200" b="1" i="0" u="none" strike="noStrike" dirty="0">
                          <a:solidFill>
                            <a:srgbClr val="4A4A4A"/>
                          </a:solidFill>
                          <a:effectLst/>
                          <a:latin typeface="Calibri" panose="020F0502020204030204" pitchFamily="34" charset="0"/>
                          <a:cs typeface="Calibri" panose="020F0502020204030204" pitchFamily="34" charset="0"/>
                        </a:rPr>
                        <a:t>Popularity</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rgbClr val="4A4A4A"/>
                          </a:solidFill>
                          <a:effectLst/>
                          <a:latin typeface="Calibri" panose="020F0502020204030204" pitchFamily="34" charset="0"/>
                          <a:cs typeface="Calibri" panose="020F0502020204030204" pitchFamily="34" charset="0"/>
                        </a:rPr>
                        <a:t>Most Popular Tool</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rgbClr val="4A4A4A"/>
                          </a:solidFill>
                          <a:effectLst/>
                          <a:latin typeface="Calibri" panose="020F0502020204030204" pitchFamily="34" charset="0"/>
                          <a:cs typeface="Calibri" panose="020F0502020204030204" pitchFamily="34" charset="0"/>
                        </a:rPr>
                        <a:t>More popular than Automation Anywher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dirty="0">
                          <a:solidFill>
                            <a:srgbClr val="4A4A4A"/>
                          </a:solidFill>
                          <a:effectLst/>
                          <a:latin typeface="Calibri" panose="020F0502020204030204" pitchFamily="34" charset="0"/>
                          <a:cs typeface="Calibri" panose="020F0502020204030204" pitchFamily="34" charset="0"/>
                        </a:rPr>
                        <a:t>The least popular tool in the trio</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918476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881" y="549275"/>
            <a:ext cx="11013735" cy="863601"/>
          </a:xfrm>
        </p:spPr>
        <p:txBody>
          <a:bodyPr/>
          <a:lstStyle/>
          <a:p>
            <a:r>
              <a:rPr lang="en-US" b="1" dirty="0"/>
              <a:t>Market Trend of RPA Tools</a:t>
            </a:r>
            <a:r>
              <a:rPr lang="en-US" dirty="0"/>
              <a:t/>
            </a:r>
            <a:br>
              <a:rPr lang="en-US" dirty="0"/>
            </a:br>
            <a:endParaRPr lang="en-US" dirty="0"/>
          </a:p>
        </p:txBody>
      </p:sp>
      <p:sp>
        <p:nvSpPr>
          <p:cNvPr id="3" name="Date Placeholder 2"/>
          <p:cNvSpPr>
            <a:spLocks noGrp="1"/>
          </p:cNvSpPr>
          <p:nvPr>
            <p:ph type="dt" sz="half" idx="14"/>
          </p:nvPr>
        </p:nvSpPr>
        <p:spPr/>
        <p:txBody>
          <a:bodyPr/>
          <a:lstStyle/>
          <a:p>
            <a:pPr>
              <a:lnSpc>
                <a:spcPct val="85000"/>
              </a:lnSpc>
            </a:pPr>
            <a:r>
              <a:rPr lang="en-US" dirty="0" smtClean="0">
                <a:solidFill>
                  <a:srgbClr val="0070AD"/>
                </a:solidFill>
              </a:rPr>
              <a:t>Group IT Project Charter Template v14.1 | 01/05/2018</a:t>
            </a:r>
            <a:endParaRPr lang="en-US" dirty="0">
              <a:solidFill>
                <a:srgbClr val="0070AD"/>
              </a:solidFill>
            </a:endParaRP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smtClean="0">
                <a:solidFill>
                  <a:srgbClr val="E6E7E7">
                    <a:lumMod val="50000"/>
                  </a:srgbClr>
                </a:solidFill>
              </a:rPr>
              <a:pPr/>
              <a:t>8</a:t>
            </a:fld>
            <a:endParaRPr lang="en-US" dirty="0">
              <a:solidFill>
                <a:srgbClr val="E6E7E7">
                  <a:lumMod val="50000"/>
                </a:srgbClr>
              </a:solidFill>
            </a:endParaRPr>
          </a:p>
        </p:txBody>
      </p:sp>
      <p:sp>
        <p:nvSpPr>
          <p:cNvPr id="6" name="Text Placeholder 5"/>
          <p:cNvSpPr>
            <a:spLocks noGrp="1"/>
          </p:cNvSpPr>
          <p:nvPr>
            <p:ph type="body" sz="quarter" idx="17"/>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sz="1800" dirty="0" smtClean="0">
              <a:latin typeface="Calibri" panose="020F0502020204030204" pitchFamily="34" charset="0"/>
              <a:cs typeface="Calibri" panose="020F0502020204030204" pitchFamily="34" charset="0"/>
            </a:endParaRPr>
          </a:p>
          <a:p>
            <a:endParaRPr lang="en-US" sz="1800" dirty="0">
              <a:latin typeface="Calibri" panose="020F0502020204030204" pitchFamily="34" charset="0"/>
              <a:cs typeface="Calibri" panose="020F0502020204030204" pitchFamily="34" charset="0"/>
            </a:endParaRPr>
          </a:p>
          <a:p>
            <a:r>
              <a:rPr lang="en-US" sz="1800" dirty="0">
                <a:latin typeface="Calibri" panose="020F0502020204030204" pitchFamily="34" charset="0"/>
                <a:cs typeface="Calibri" panose="020F0502020204030204" pitchFamily="34" charset="0"/>
              </a:rPr>
              <a:t>Here, the red line here is UiPath, blue line Blue Prism and the yellow line is Automation Anywhere. As it is evident from the graph, UiPath emerges as a winner here.</a:t>
            </a:r>
          </a:p>
        </p:txBody>
      </p:sp>
      <p:pic>
        <p:nvPicPr>
          <p:cNvPr id="50178" name="Picture 2" descr="Google Trends of RPA Tools - RPA Blue Prism - Edurek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4339" y="2011363"/>
            <a:ext cx="8086725" cy="188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09942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881" y="549276"/>
            <a:ext cx="11013735" cy="740890"/>
          </a:xfrm>
        </p:spPr>
        <p:txBody>
          <a:bodyPr/>
          <a:lstStyle/>
          <a:p>
            <a:r>
              <a:rPr lang="en-US" b="1" dirty="0" smtClean="0"/>
              <a:t>Brief about UI- Path</a:t>
            </a:r>
            <a:endParaRPr lang="en-US" dirty="0"/>
          </a:p>
        </p:txBody>
      </p:sp>
      <p:sp>
        <p:nvSpPr>
          <p:cNvPr id="3" name="Date Placeholder 2"/>
          <p:cNvSpPr>
            <a:spLocks noGrp="1"/>
          </p:cNvSpPr>
          <p:nvPr>
            <p:ph type="dt" sz="half" idx="14"/>
          </p:nvPr>
        </p:nvSpPr>
        <p:spPr/>
        <p:txBody>
          <a:bodyPr/>
          <a:lstStyle/>
          <a:p>
            <a:pPr>
              <a:lnSpc>
                <a:spcPct val="85000"/>
              </a:lnSpc>
            </a:pPr>
            <a:r>
              <a:rPr lang="en-US" dirty="0" smtClean="0">
                <a:solidFill>
                  <a:srgbClr val="0070AD"/>
                </a:solidFill>
              </a:rPr>
              <a:t>Group IT Project Charter Template v14.1 | 01/05/2018</a:t>
            </a:r>
            <a:endParaRPr lang="en-US" dirty="0">
              <a:solidFill>
                <a:srgbClr val="0070AD"/>
              </a:solidFill>
            </a:endParaRPr>
          </a:p>
        </p:txBody>
      </p:sp>
      <p:sp>
        <p:nvSpPr>
          <p:cNvPr id="4" name="Footer Placeholder 3"/>
          <p:cNvSpPr>
            <a:spLocks noGrp="1"/>
          </p:cNvSpPr>
          <p:nvPr>
            <p:ph type="ftr" sz="quarter" idx="15"/>
          </p:nvPr>
        </p:nvSpPr>
        <p:spPr/>
        <p:txBody>
          <a:bodyPr/>
          <a:lstStyle/>
          <a:p>
            <a:r>
              <a:rPr lang="en-US" dirty="0" smtClean="0">
                <a:solidFill>
                  <a:srgbClr val="E6E7E7">
                    <a:lumMod val="50000"/>
                  </a:srgbClr>
                </a:solidFill>
              </a:rPr>
              <a:t>© 2018 Capgemini. All rights reserved.</a:t>
            </a:r>
            <a:endParaRPr lang="en-US" dirty="0">
              <a:solidFill>
                <a:srgbClr val="E6E7E7">
                  <a:lumMod val="50000"/>
                </a:srgbClr>
              </a:solidFill>
            </a:endParaRPr>
          </a:p>
        </p:txBody>
      </p:sp>
      <p:sp>
        <p:nvSpPr>
          <p:cNvPr id="5" name="Slide Number Placeholder 4"/>
          <p:cNvSpPr>
            <a:spLocks noGrp="1"/>
          </p:cNvSpPr>
          <p:nvPr>
            <p:ph type="sldNum" sz="quarter" idx="16"/>
          </p:nvPr>
        </p:nvSpPr>
        <p:spPr/>
        <p:txBody>
          <a:bodyPr/>
          <a:lstStyle/>
          <a:p>
            <a:fld id="{DD205EFF-948D-4AF6-B54C-65639188FB5F}" type="slidenum">
              <a:rPr lang="en-US" smtClean="0">
                <a:solidFill>
                  <a:srgbClr val="E6E7E7">
                    <a:lumMod val="50000"/>
                  </a:srgbClr>
                </a:solidFill>
              </a:rPr>
              <a:pPr/>
              <a:t>9</a:t>
            </a:fld>
            <a:endParaRPr lang="en-US" dirty="0">
              <a:solidFill>
                <a:srgbClr val="E6E7E7">
                  <a:lumMod val="50000"/>
                </a:srgbClr>
              </a:solidFill>
            </a:endParaRPr>
          </a:p>
        </p:txBody>
      </p:sp>
      <p:sp>
        <p:nvSpPr>
          <p:cNvPr id="7" name="TextBox 6"/>
          <p:cNvSpPr txBox="1"/>
          <p:nvPr/>
        </p:nvSpPr>
        <p:spPr>
          <a:xfrm>
            <a:off x="1143000" y="1785256"/>
            <a:ext cx="10401786" cy="923330"/>
          </a:xfrm>
          <a:prstGeom prst="rect">
            <a:avLst/>
          </a:prstGeom>
          <a:noFill/>
        </p:spPr>
        <p:txBody>
          <a:bodyPr wrap="square" rtlCol="0">
            <a:spAutoFit/>
          </a:bodyPr>
          <a:lstStyle/>
          <a:p>
            <a:r>
              <a:rPr lang="en-US" sz="1800" dirty="0">
                <a:latin typeface="Calibri" panose="020F0502020204030204" pitchFamily="34" charset="0"/>
                <a:cs typeface="Calibri" panose="020F0502020204030204" pitchFamily="34" charset="0"/>
              </a:rPr>
              <a:t>UiPath Studio software solution allows automating repetitive office tasks. It is founded by Romanian entrepreneur Daniel Dines in the year 2005. It converts boring tasks into automation process can work with multiple tools.</a:t>
            </a:r>
            <a:endParaRPr lang="en-US" sz="1800" dirty="0" smtClean="0">
              <a:latin typeface="Calibri" panose="020F0502020204030204" pitchFamily="34" charset="0"/>
              <a:cs typeface="Calibri" panose="020F0502020204030204" pitchFamily="34" charset="0"/>
            </a:endParaRPr>
          </a:p>
        </p:txBody>
      </p:sp>
      <p:sp>
        <p:nvSpPr>
          <p:cNvPr id="8" name="TextBox 7"/>
          <p:cNvSpPr txBox="1"/>
          <p:nvPr/>
        </p:nvSpPr>
        <p:spPr>
          <a:xfrm>
            <a:off x="407881" y="1345884"/>
            <a:ext cx="2107756" cy="369332"/>
          </a:xfrm>
          <a:prstGeom prst="rect">
            <a:avLst/>
          </a:prstGeom>
          <a:noFill/>
        </p:spPr>
        <p:txBody>
          <a:bodyPr wrap="none" rtlCol="0">
            <a:spAutoFit/>
          </a:bodyPr>
          <a:lstStyle/>
          <a:p>
            <a:pPr marL="285750" indent="-285750">
              <a:buFont typeface="Wingdings" panose="05000000000000000000" pitchFamily="2" charset="2"/>
              <a:buChar char="Ø"/>
            </a:pPr>
            <a:r>
              <a:rPr lang="en-US" sz="1800" b="1" dirty="0" smtClean="0">
                <a:latin typeface="Calibri" panose="020F0502020204030204" pitchFamily="34" charset="0"/>
                <a:cs typeface="Calibri" panose="020F0502020204030204" pitchFamily="34" charset="0"/>
              </a:rPr>
              <a:t>What </a:t>
            </a:r>
            <a:r>
              <a:rPr lang="en-US" sz="1800" b="1" dirty="0">
                <a:latin typeface="Calibri" panose="020F0502020204030204" pitchFamily="34" charset="0"/>
                <a:cs typeface="Calibri" panose="020F0502020204030204" pitchFamily="34" charset="0"/>
              </a:rPr>
              <a:t>is </a:t>
            </a:r>
            <a:r>
              <a:rPr lang="en-US" sz="1800" b="1" dirty="0" err="1" smtClean="0">
                <a:latin typeface="Calibri" panose="020F0502020204030204" pitchFamily="34" charset="0"/>
                <a:cs typeface="Calibri" panose="020F0502020204030204" pitchFamily="34" charset="0"/>
              </a:rPr>
              <a:t>Ui</a:t>
            </a:r>
            <a:r>
              <a:rPr lang="en-US" sz="1800" b="1" dirty="0" smtClean="0">
                <a:latin typeface="Calibri" panose="020F0502020204030204" pitchFamily="34" charset="0"/>
                <a:cs typeface="Calibri" panose="020F0502020204030204" pitchFamily="34" charset="0"/>
              </a:rPr>
              <a:t> PATH</a:t>
            </a:r>
            <a:r>
              <a:rPr lang="en-US" sz="1800" dirty="0">
                <a:latin typeface="Calibri" panose="020F0502020204030204" pitchFamily="34" charset="0"/>
                <a:cs typeface="Calibri" panose="020F0502020204030204" pitchFamily="34" charset="0"/>
              </a:rPr>
              <a:t>?</a:t>
            </a:r>
            <a:endParaRPr lang="en-US" sz="1800" dirty="0" smtClean="0">
              <a:latin typeface="Calibri" panose="020F0502020204030204" pitchFamily="34" charset="0"/>
              <a:cs typeface="Calibri" panose="020F0502020204030204" pitchFamily="34" charset="0"/>
            </a:endParaRPr>
          </a:p>
        </p:txBody>
      </p:sp>
      <p:sp>
        <p:nvSpPr>
          <p:cNvPr id="11" name="TextBox 10"/>
          <p:cNvSpPr txBox="1"/>
          <p:nvPr/>
        </p:nvSpPr>
        <p:spPr>
          <a:xfrm>
            <a:off x="407881" y="3147071"/>
            <a:ext cx="2310441" cy="646331"/>
          </a:xfrm>
          <a:prstGeom prst="rect">
            <a:avLst/>
          </a:prstGeom>
          <a:noFill/>
        </p:spPr>
        <p:txBody>
          <a:bodyPr wrap="none" rtlCol="0">
            <a:spAutoFit/>
          </a:bodyPr>
          <a:lstStyle/>
          <a:p>
            <a:pPr marL="285750" indent="-285750">
              <a:buFont typeface="Wingdings" panose="05000000000000000000" pitchFamily="2" charset="2"/>
              <a:buChar char="Ø"/>
            </a:pPr>
            <a:r>
              <a:rPr lang="en-US" sz="1800" b="1" dirty="0" smtClean="0">
                <a:latin typeface="Calibri" panose="020F0502020204030204" pitchFamily="34" charset="0"/>
                <a:cs typeface="Calibri" panose="020F0502020204030204" pitchFamily="34" charset="0"/>
              </a:rPr>
              <a:t>Products </a:t>
            </a:r>
            <a:r>
              <a:rPr lang="en-US" sz="1800" b="1" dirty="0">
                <a:latin typeface="Calibri" panose="020F0502020204030204" pitchFamily="34" charset="0"/>
                <a:cs typeface="Calibri" panose="020F0502020204030204" pitchFamily="34" charset="0"/>
              </a:rPr>
              <a:t>of </a:t>
            </a:r>
            <a:r>
              <a:rPr lang="en-US" sz="1800" b="1" dirty="0" err="1" smtClean="0">
                <a:latin typeface="Calibri" panose="020F0502020204030204" pitchFamily="34" charset="0"/>
                <a:cs typeface="Calibri" panose="020F0502020204030204" pitchFamily="34" charset="0"/>
              </a:rPr>
              <a:t>Ui</a:t>
            </a:r>
            <a:r>
              <a:rPr lang="en-US" sz="1800" b="1" dirty="0" smtClean="0">
                <a:latin typeface="Calibri" panose="020F0502020204030204" pitchFamily="34" charset="0"/>
                <a:cs typeface="Calibri" panose="020F0502020204030204" pitchFamily="34" charset="0"/>
              </a:rPr>
              <a:t> Path</a:t>
            </a:r>
            <a:endParaRPr lang="en-US" sz="1800" b="1" dirty="0">
              <a:latin typeface="Calibri" panose="020F0502020204030204" pitchFamily="34" charset="0"/>
              <a:cs typeface="Calibri" panose="020F0502020204030204" pitchFamily="34" charset="0"/>
            </a:endParaRPr>
          </a:p>
          <a:p>
            <a:endParaRPr lang="en-US" sz="1800" dirty="0" smtClean="0">
              <a:latin typeface="Calibri" panose="020F0502020204030204" pitchFamily="34" charset="0"/>
              <a:cs typeface="Calibri" panose="020F0502020204030204" pitchFamily="34" charset="0"/>
            </a:endParaRPr>
          </a:p>
        </p:txBody>
      </p:sp>
      <p:sp>
        <p:nvSpPr>
          <p:cNvPr id="12" name="TextBox 11"/>
          <p:cNvSpPr txBox="1"/>
          <p:nvPr/>
        </p:nvSpPr>
        <p:spPr>
          <a:xfrm>
            <a:off x="925286" y="3636534"/>
            <a:ext cx="5840894" cy="369332"/>
          </a:xfrm>
          <a:prstGeom prst="rect">
            <a:avLst/>
          </a:prstGeom>
          <a:noFill/>
        </p:spPr>
        <p:txBody>
          <a:bodyPr wrap="none" rtlCol="0">
            <a:spAutoFit/>
          </a:bodyPr>
          <a:lstStyle/>
          <a:p>
            <a:r>
              <a:rPr lang="en-US" sz="1800" dirty="0">
                <a:latin typeface="Calibri" panose="020F0502020204030204" pitchFamily="34" charset="0"/>
                <a:cs typeface="Calibri" panose="020F0502020204030204" pitchFamily="34" charset="0"/>
              </a:rPr>
              <a:t>UiPath studio is available with three different product suite</a:t>
            </a:r>
            <a:r>
              <a:rPr lang="en-US" sz="1800" dirty="0" smtClean="0">
                <a:latin typeface="Calibri" panose="020F0502020204030204" pitchFamily="34" charset="0"/>
                <a:cs typeface="Calibri" panose="020F0502020204030204" pitchFamily="34" charset="0"/>
              </a:rPr>
              <a:t>:-</a:t>
            </a:r>
          </a:p>
        </p:txBody>
      </p:sp>
      <p:sp>
        <p:nvSpPr>
          <p:cNvPr id="13" name="TextBox 12"/>
          <p:cNvSpPr txBox="1"/>
          <p:nvPr/>
        </p:nvSpPr>
        <p:spPr>
          <a:xfrm>
            <a:off x="870732" y="4131625"/>
            <a:ext cx="1732975" cy="369332"/>
          </a:xfrm>
          <a:prstGeom prst="rect">
            <a:avLst/>
          </a:prstGeom>
          <a:noFill/>
        </p:spPr>
        <p:txBody>
          <a:bodyPr wrap="none" rtlCol="0">
            <a:spAutoFit/>
          </a:bodyPr>
          <a:lstStyle/>
          <a:p>
            <a:r>
              <a:rPr lang="en-US" sz="1800" b="1" dirty="0">
                <a:latin typeface="Calibri" panose="020F0502020204030204" pitchFamily="34" charset="0"/>
                <a:cs typeface="Calibri" panose="020F0502020204030204" pitchFamily="34" charset="0"/>
              </a:rPr>
              <a:t>a</a:t>
            </a:r>
            <a:r>
              <a:rPr lang="en-US" sz="1800" b="1" dirty="0" smtClean="0">
                <a:latin typeface="Calibri" panose="020F0502020204030204" pitchFamily="34" charset="0"/>
                <a:cs typeface="Calibri" panose="020F0502020204030204" pitchFamily="34" charset="0"/>
              </a:rPr>
              <a:t>) UiPath </a:t>
            </a:r>
            <a:r>
              <a:rPr lang="en-US" sz="1800" b="1" dirty="0">
                <a:latin typeface="Calibri" panose="020F0502020204030204" pitchFamily="34" charset="0"/>
                <a:cs typeface="Calibri" panose="020F0502020204030204" pitchFamily="34" charset="0"/>
              </a:rPr>
              <a:t>Studio</a:t>
            </a:r>
            <a:endParaRPr lang="en-US" sz="1800" dirty="0" smtClean="0">
              <a:latin typeface="Calibri" panose="020F0502020204030204" pitchFamily="34" charset="0"/>
              <a:cs typeface="Calibri" panose="020F0502020204030204" pitchFamily="34" charset="0"/>
            </a:endParaRPr>
          </a:p>
        </p:txBody>
      </p:sp>
      <p:sp>
        <p:nvSpPr>
          <p:cNvPr id="14" name="Rectangle 13"/>
          <p:cNvSpPr/>
          <p:nvPr/>
        </p:nvSpPr>
        <p:spPr>
          <a:xfrm>
            <a:off x="875568" y="4382408"/>
            <a:ext cx="1703287" cy="369332"/>
          </a:xfrm>
          <a:prstGeom prst="rect">
            <a:avLst/>
          </a:prstGeom>
        </p:spPr>
        <p:txBody>
          <a:bodyPr wrap="none">
            <a:spAutoFit/>
          </a:bodyPr>
          <a:lstStyle/>
          <a:p>
            <a:r>
              <a:rPr lang="en-US" sz="1800" b="1" dirty="0" smtClean="0">
                <a:latin typeface="Calibri" panose="020F0502020204030204" pitchFamily="34" charset="0"/>
                <a:cs typeface="Calibri" panose="020F0502020204030204" pitchFamily="34" charset="0"/>
              </a:rPr>
              <a:t>b) UiPath Robot</a:t>
            </a:r>
            <a:endParaRPr lang="en-US" sz="1800" dirty="0">
              <a:latin typeface="Calibri" panose="020F0502020204030204" pitchFamily="34" charset="0"/>
              <a:cs typeface="Calibri" panose="020F0502020204030204" pitchFamily="34" charset="0"/>
            </a:endParaRPr>
          </a:p>
        </p:txBody>
      </p:sp>
      <p:sp>
        <p:nvSpPr>
          <p:cNvPr id="15" name="Rectangle 14"/>
          <p:cNvSpPr/>
          <p:nvPr/>
        </p:nvSpPr>
        <p:spPr>
          <a:xfrm>
            <a:off x="908839" y="4603810"/>
            <a:ext cx="2309222" cy="369332"/>
          </a:xfrm>
          <a:prstGeom prst="rect">
            <a:avLst/>
          </a:prstGeom>
        </p:spPr>
        <p:txBody>
          <a:bodyPr wrap="none">
            <a:spAutoFit/>
          </a:bodyPr>
          <a:lstStyle/>
          <a:p>
            <a:r>
              <a:rPr lang="en-US" sz="1800" b="1" dirty="0" smtClean="0">
                <a:latin typeface="Calibri" panose="020F0502020204030204" pitchFamily="34" charset="0"/>
                <a:cs typeface="Calibri" panose="020F0502020204030204" pitchFamily="34" charset="0"/>
              </a:rPr>
              <a:t>c) UiPath </a:t>
            </a:r>
            <a:r>
              <a:rPr lang="en-US" sz="1800" b="1" dirty="0">
                <a:latin typeface="Calibri" panose="020F0502020204030204" pitchFamily="34" charset="0"/>
                <a:cs typeface="Calibri" panose="020F0502020204030204" pitchFamily="34" charset="0"/>
              </a:rPr>
              <a:t>Orchestrator</a:t>
            </a:r>
            <a:endParaRPr lang="en-US" sz="1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326297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oup IT 2018">
  <a:themeElements>
    <a:clrScheme name="CG Template 2018">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GroupIT_VI_Template_2018_light.potx  -  Read-Only" id="{1DE8185F-5FE7-4C0E-BF71-D93F4B076FE6}" vid="{C0F817B9-2B36-440E-BCF0-7733AD7FC5A9}"/>
    </a:ext>
  </a:extLst>
</a:theme>
</file>

<file path=ppt/theme/theme2.xml><?xml version="1.0" encoding="utf-8"?>
<a:theme xmlns:a="http://schemas.openxmlformats.org/drawingml/2006/main" name="2_Group IT 2018">
  <a:themeElements>
    <a:clrScheme name="CG Theme 1">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GroupIT_VI_Template_2018_light.potx  -  Read-Only" id="{1DE8185F-5FE7-4C0E-BF71-D93F4B076FE6}" vid="{C0F817B9-2B36-440E-BCF0-7733AD7FC5A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G Theme 1">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2D4FF585B8F948B26FA7748D2042E5" ma:contentTypeVersion="6" ma:contentTypeDescription="Create a new document." ma:contentTypeScope="" ma:versionID="f0f4bc969126c1cbaa671d408e5e0e80">
  <xsd:schema xmlns:xsd="http://www.w3.org/2001/XMLSchema" xmlns:xs="http://www.w3.org/2001/XMLSchema" xmlns:p="http://schemas.microsoft.com/office/2006/metadata/properties" xmlns:ns2="555177e5-c7bc-4d91-aaff-8ba05298af4b" targetNamespace="http://schemas.microsoft.com/office/2006/metadata/properties" ma:root="true" ma:fieldsID="31c65b75e4bea8497d21117537772818" ns2:_="">
    <xsd:import namespace="555177e5-c7bc-4d91-aaff-8ba05298af4b"/>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5177e5-c7bc-4d91-aaff-8ba05298af4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6BBA5B1-C9DC-41A2-AAC8-35CE91153481}">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555177e5-c7bc-4d91-aaff-8ba05298af4b"/>
    <ds:schemaRef ds:uri="http://www.w3.org/XML/1998/namespace"/>
    <ds:schemaRef ds:uri="http://purl.org/dc/dcmitype/"/>
  </ds:schemaRefs>
</ds:datastoreItem>
</file>

<file path=customXml/itemProps2.xml><?xml version="1.0" encoding="utf-8"?>
<ds:datastoreItem xmlns:ds="http://schemas.openxmlformats.org/officeDocument/2006/customXml" ds:itemID="{A4063989-1109-41B1-BF59-9A08E43F8EE9}">
  <ds:schemaRefs>
    <ds:schemaRef ds:uri="http://schemas.microsoft.com/sharepoint/v3/contenttype/forms"/>
  </ds:schemaRefs>
</ds:datastoreItem>
</file>

<file path=customXml/itemProps3.xml><?xml version="1.0" encoding="utf-8"?>
<ds:datastoreItem xmlns:ds="http://schemas.openxmlformats.org/officeDocument/2006/customXml" ds:itemID="{22798233-D345-4A64-9237-74415F03CD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55177e5-c7bc-4d91-aaff-8ba05298af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roupComp_VI_Group_IT_16x9_new_logo</Template>
  <TotalTime>16971</TotalTime>
  <Words>1224</Words>
  <Application>Microsoft Office PowerPoint</Application>
  <PresentationFormat>Custom</PresentationFormat>
  <Paragraphs>230</Paragraphs>
  <Slides>28</Slides>
  <Notes>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2</vt:i4>
      </vt:variant>
      <vt:variant>
        <vt:lpstr>Slide Titles</vt:lpstr>
      </vt:variant>
      <vt:variant>
        <vt:i4>28</vt:i4>
      </vt:variant>
    </vt:vector>
  </HeadingPairs>
  <TitlesOfParts>
    <vt:vector size="38" baseType="lpstr">
      <vt:lpstr>Arial</vt:lpstr>
      <vt:lpstr>Calibri</vt:lpstr>
      <vt:lpstr>Courier New</vt:lpstr>
      <vt:lpstr>Times New Roman</vt:lpstr>
      <vt:lpstr>Verdana</vt:lpstr>
      <vt:lpstr>Wingdings</vt:lpstr>
      <vt:lpstr>Group IT 2018</vt:lpstr>
      <vt:lpstr>2_Group IT 2018</vt:lpstr>
      <vt:lpstr>think-cell Slide</vt:lpstr>
      <vt:lpstr>Document</vt:lpstr>
      <vt:lpstr>E-Collaborative – Sanity Testing Automation                                [RPA]</vt:lpstr>
      <vt:lpstr>Agenda</vt:lpstr>
      <vt:lpstr>PowerPoint Presentation</vt:lpstr>
      <vt:lpstr>How RPA Works? </vt:lpstr>
      <vt:lpstr>How To Get Started With RPA?</vt:lpstr>
      <vt:lpstr>RPA Tools</vt:lpstr>
      <vt:lpstr>Comparison of top Tools</vt:lpstr>
      <vt:lpstr>Market Trend of RPA Tools </vt:lpstr>
      <vt:lpstr>Brief about UI- Path</vt:lpstr>
      <vt:lpstr>Features of UiPath  </vt:lpstr>
      <vt:lpstr>How to install Ui PATH?   </vt:lpstr>
      <vt:lpstr>Applications of  RPA</vt:lpstr>
      <vt:lpstr>Use Case Implementation</vt:lpstr>
      <vt:lpstr>Flowchart </vt:lpstr>
      <vt:lpstr>Process Flowchart AS-IS</vt:lpstr>
      <vt:lpstr>Process Flowchart AS-IS Continued…</vt:lpstr>
      <vt:lpstr>Process Flowchart AS-IS Continued…</vt:lpstr>
      <vt:lpstr>Process Flowchart AS-IS Continued…</vt:lpstr>
      <vt:lpstr>Process Flowchart AS-IS Continu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ewitt, Lionel</dc:creator>
  <cp:lastModifiedBy>Mehra, Chandrapriya</cp:lastModifiedBy>
  <cp:revision>646</cp:revision>
  <dcterms:created xsi:type="dcterms:W3CDTF">2017-10-22T07:38:40Z</dcterms:created>
  <dcterms:modified xsi:type="dcterms:W3CDTF">2019-12-04T09:1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2D4FF585B8F948B26FA7748D2042E5</vt:lpwstr>
  </property>
  <property fmtid="{D5CDD505-2E9C-101B-9397-08002B2CF9AE}" pid="3" name="AuthorIds_UIVersion_1024">
    <vt:lpwstr>12</vt:lpwstr>
  </property>
  <property fmtid="{D5CDD505-2E9C-101B-9397-08002B2CF9AE}" pid="4" name="Tfs.IsStoryboard">
    <vt:bool>true</vt:bool>
  </property>
</Properties>
</file>